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6.xml" ContentType="application/vnd.openxmlformats-officedocument.theme+xml"/>
  <Override PartName="/ppt/tags/tag8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4"/>
    <p:sldMasterId id="2147483660" r:id="rId5"/>
    <p:sldMasterId id="2147484059" r:id="rId6"/>
    <p:sldMasterId id="2147483675" r:id="rId7"/>
    <p:sldMasterId id="2147485278" r:id="rId8"/>
  </p:sldMasterIdLst>
  <p:notesMasterIdLst>
    <p:notesMasterId r:id="rId10"/>
  </p:notesMasterIdLst>
  <p:sldIdLst>
    <p:sldId id="1006" r:id="rId9"/>
  </p:sldIdLst>
  <p:sldSz cx="12192000" cy="6858000"/>
  <p:notesSz cx="6807200" cy="9939338"/>
  <p:custDataLst>
    <p:tags r:id="rId11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143" userDrawn="1">
          <p15:clr>
            <a:srgbClr val="A4A3A4"/>
          </p15:clr>
        </p15:guide>
        <p15:guide id="5" pos="7491" userDrawn="1">
          <p15:clr>
            <a:srgbClr val="A4A3A4"/>
          </p15:clr>
        </p15:guide>
        <p15:guide id="6" pos="3795" userDrawn="1">
          <p15:clr>
            <a:srgbClr val="A4A3A4"/>
          </p15:clr>
        </p15:guide>
        <p15:guide id="7" pos="388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E28716-A934-703D-8628-2CC7E0D81A0C}" name="橋本 広樹" initials="橋広" userId="S::hiroki_hashimoto@waku-2.com::eba06283-164f-4de0-af3a-9c76aaaaca7e" providerId="AD"/>
  <p188:author id="{1A3B8636-8620-B9A4-C891-12E1C7ECD5F8}" name="Yuya Koshigoe" initials="YK" userId="S::koshigoe@r.recruit.co.jp::3fe0655e-fec5-4cf9-b37d-44feda894f16" providerId="AD"/>
  <p188:author id="{82D06E65-116F-3A94-C6E6-DA9A978F9025}" name="Koji Watanabe" initials="KW" userId="S::koji_watanabe@r.recruit.co.jp::09dcf22e-8401-4cac-a6ec-d24563b5ffe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佐藤 賢治郎" initials="佐賢" lastIdx="1" clrIdx="6">
    <p:extLst>
      <p:ext uri="{19B8F6BF-5375-455C-9EA6-DF929625EA0E}">
        <p15:presenceInfo xmlns:p15="http://schemas.microsoft.com/office/powerpoint/2012/main" userId="S::kenjiro_sato@r.recruit.co.jp::e404cc41-4922-4ee7-bae1-ddc13f730199" providerId="AD"/>
      </p:ext>
    </p:extLst>
  </p:cmAuthor>
  <p:cmAuthor id="1" name="清水 吉直" initials="清水" lastIdx="17" clrIdx="0"/>
  <p:cmAuthor id="2" name="Takeshi Imagawa" initials="TI" lastIdx="9" clrIdx="1"/>
  <p:cmAuthor id="3" name="Morita, Hiroyuki 2" initials="M2" lastIdx="1" clrIdx="2">
    <p:extLst>
      <p:ext uri="{19B8F6BF-5375-455C-9EA6-DF929625EA0E}">
        <p15:presenceInfo xmlns:p15="http://schemas.microsoft.com/office/powerpoint/2012/main" userId="S::himorita_tohmatsu.co.jp#ext#@cocorou.onmicrosoft.com::ee291295-d40d-4bc0-8be1-2682e6600105" providerId="AD"/>
      </p:ext>
    </p:extLst>
  </p:cmAuthor>
  <p:cmAuthor id="4" name="荒井　完太" initials="荒井　完太" lastIdx="5" clrIdx="3">
    <p:extLst>
      <p:ext uri="{19B8F6BF-5375-455C-9EA6-DF929625EA0E}">
        <p15:presenceInfo xmlns:p15="http://schemas.microsoft.com/office/powerpoint/2012/main" userId="S-1-5-21-484763869-861567501-839522115-152491" providerId="AD"/>
      </p:ext>
    </p:extLst>
  </p:cmAuthor>
  <p:cmAuthor id="5" name="遠山　葉月" initials="遠山　葉月" lastIdx="4" clrIdx="4">
    <p:extLst>
      <p:ext uri="{19B8F6BF-5375-455C-9EA6-DF929625EA0E}">
        <p15:presenceInfo xmlns:p15="http://schemas.microsoft.com/office/powerpoint/2012/main" userId="S-1-5-21-484763869-861567501-839522115-842496" providerId="AD"/>
      </p:ext>
    </p:extLst>
  </p:cmAuthor>
  <p:cmAuthor id="6" name="葉月 遠山" initials="葉月" lastIdx="8" clrIdx="5">
    <p:extLst>
      <p:ext uri="{19B8F6BF-5375-455C-9EA6-DF929625EA0E}">
        <p15:presenceInfo xmlns:p15="http://schemas.microsoft.com/office/powerpoint/2012/main" userId="葉月 遠山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7600"/>
    <a:srgbClr val="D2D2F4"/>
    <a:srgbClr val="C2FFF0"/>
    <a:srgbClr val="FFFFCC"/>
    <a:srgbClr val="0070C0"/>
    <a:srgbClr val="0A56FA"/>
    <a:srgbClr val="FFCCCC"/>
    <a:srgbClr val="FFFF99"/>
    <a:srgbClr val="00000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92E607-870C-49B0-8119-276ED68497AA}" v="72" dt="2021-10-13T06:27:53.710"/>
    <p1510:client id="{2BF21DD7-2770-4299-9F34-6FCB63FC2238}" v="18" dt="2021-12-01T11:03:28.634"/>
    <p1510:client id="{497CB686-755D-4BEC-8843-01678D0FA90A}" v="1" dt="2021-12-01T11:09:33.899"/>
    <p1510:client id="{4E60B307-F681-553B-7EA2-4CACCABE2A59}" v="2" dt="2021-10-14T11:41:48.5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505E3EF-67EA-436B-97B2-0124C06EBD24}" styleName="中間スタイル 4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スタイル/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EBBBCC-DAD2-459C-BE2E-F6DE35CF9A28}" styleName="濃色スタイル 2 - アクセント 3/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淡色スタイル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3" autoAdjust="0"/>
    <p:restoredTop sz="96597" autoAdjust="0"/>
  </p:normalViewPr>
  <p:slideViewPr>
    <p:cSldViewPr snapToGrid="0">
      <p:cViewPr varScale="1">
        <p:scale>
          <a:sx n="72" d="100"/>
          <a:sy n="72" d="100"/>
        </p:scale>
        <p:origin x="232" y="276"/>
      </p:cViewPr>
      <p:guideLst>
        <p:guide pos="3840"/>
        <p:guide orient="horz" pos="2160"/>
        <p:guide pos="143"/>
        <p:guide pos="7491"/>
        <p:guide pos="3795"/>
        <p:guide pos="38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17" cy="497285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 b="0" i="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3855293" y="0"/>
            <a:ext cx="2950317" cy="497285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 b="0" i="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F15BF457-9B3F-4CCE-BE76-BABC711300F6}" type="datetimeFigureOut">
              <a:rPr lang="ja-JP" altLang="en-US" smtClean="0"/>
              <a:pPr>
                <a:defRPr/>
              </a:pPr>
              <a:t>2025/9/22</a:t>
            </a:fld>
            <a:endParaRPr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5" rIns="91550" bIns="45775" rtlCol="0" anchor="ctr"/>
          <a:lstStyle/>
          <a:p>
            <a:pPr lvl="0"/>
            <a:endParaRPr lang="ja-JP" altLang="en-US" noProof="0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80720" y="4721821"/>
            <a:ext cx="5445760" cy="4472385"/>
          </a:xfrm>
          <a:prstGeom prst="rect">
            <a:avLst/>
          </a:prstGeom>
        </p:spPr>
        <p:txBody>
          <a:bodyPr vert="horz" lIns="91550" tIns="45775" rIns="91550" bIns="45775" rtlCol="0">
            <a:normAutofit/>
          </a:bodyPr>
          <a:lstStyle/>
          <a:p>
            <a:pPr lvl="0"/>
            <a:r>
              <a:rPr lang="ja-JP" altLang="en-US" noProof="0"/>
              <a:t>マスタ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1" y="9440465"/>
            <a:ext cx="2950317" cy="497285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 b="0" i="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55293" y="9440465"/>
            <a:ext cx="2950317" cy="497285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 b="0" i="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1FBF1EA7-1322-4E8A-8143-24868A27BA7C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034362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b="0" i="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  <a:sym typeface="MS UI Gothic" panose="020B0600070205080204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b="0" i="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  <a:sym typeface="MS UI Gothic" panose="020B0600070205080204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b="0" i="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  <a:sym typeface="MS UI Gothic" panose="020B0600070205080204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b="0" i="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  <a:sym typeface="MS UI Gothic" panose="020B0600070205080204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b="0" i="0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  <a:sym typeface="MS UI Gothic" panose="020B0600070205080204" pitchFamily="34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2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1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1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1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18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9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1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7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4" Type="http://schemas.openxmlformats.org/officeDocument/2006/relationships/image" Target="../media/image9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4" Type="http://schemas.openxmlformats.org/officeDocument/2006/relationships/image" Target="../media/image1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4" Type="http://schemas.openxmlformats.org/officeDocument/2006/relationships/image" Target="../media/image12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692364C5-ABC3-0C4F-8E0D-6F668987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057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692364C5-ABC3-0C4F-8E0D-6F6689878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41445" y="2362200"/>
            <a:ext cx="10363200" cy="1143000"/>
          </a:xfrm>
        </p:spPr>
        <p:txBody>
          <a:bodyPr/>
          <a:lstStyle>
            <a:lvl1pPr algn="r">
              <a:defRPr sz="2400">
                <a:solidFill>
                  <a:schemeClr val="accent4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70245" y="3546953"/>
            <a:ext cx="8534400" cy="719137"/>
          </a:xfrm>
        </p:spPr>
        <p:txBody>
          <a:bodyPr/>
          <a:lstStyle>
            <a:lvl1pPr marL="0" indent="0" algn="r">
              <a:spcBef>
                <a:spcPct val="0"/>
              </a:spcBef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323E333F-0F6C-4FC7-A7F3-F21A7CDFE59D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8" name="正方形/長方形 7"/>
          <p:cNvSpPr/>
          <p:nvPr userDrawn="1"/>
        </p:nvSpPr>
        <p:spPr>
          <a:xfrm flipV="1">
            <a:off x="95333" y="3501234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 b="0" i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34" charset="-128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AE9A338-8EF3-E24E-B257-6BFAC36AF9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159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AE9A338-8EF3-E24E-B257-6BFAC36AF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57521FA-AC5D-4361-92AE-96CAB981DE4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0440156-9821-C843-B741-1CF8406E4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072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0440156-9821-C843-B741-1CF8406E4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879419" y="152403"/>
            <a:ext cx="289136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03202" y="152403"/>
            <a:ext cx="847301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1DD5941B-7BC5-40EA-BF7E-4FB4EBB3F66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0419877"/>
              </p:ext>
            </p:extLst>
          </p:nvPr>
        </p:nvGraphicFramePr>
        <p:xfrm>
          <a:off x="1965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5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40000" y="152417"/>
            <a:ext cx="11712000" cy="37941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10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239741" y="692696"/>
            <a:ext cx="11712543" cy="720000"/>
          </a:xfrm>
          <a:prstGeom prst="rect">
            <a:avLst/>
          </a:prstGeom>
        </p:spPr>
        <p:txBody>
          <a:bodyPr anchor="t"/>
          <a:lstStyle>
            <a:lvl1pPr marL="263776" indent="-263776">
              <a:buClrTx/>
              <a:buFont typeface="Arial" panose="020B0604020202020204" pitchFamily="34" charset="0"/>
              <a:buChar char="•"/>
              <a:defRPr sz="1477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599357" indent="-263776">
              <a:buFont typeface="Wingdings" panose="05000000000000000000" pitchFamily="2" charset="2"/>
              <a:buChar char="ü"/>
              <a:defRPr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defRPr>
            </a:lvl2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endParaRPr kumimoji="1" lang="en-US" altLang="ja-JP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3"/>
          </p:nvPr>
        </p:nvSpPr>
        <p:spPr>
          <a:xfrm>
            <a:off x="239741" y="6309352"/>
            <a:ext cx="11712543" cy="288000"/>
          </a:xfrm>
          <a:prstGeom prst="rect">
            <a:avLst/>
          </a:prstGeom>
        </p:spPr>
        <p:txBody>
          <a:bodyPr anchor="b"/>
          <a:lstStyle>
            <a:lvl1pPr marL="0" indent="0">
              <a:buClrTx/>
              <a:buFont typeface="Arial" panose="020B0604020202020204" pitchFamily="34" charset="0"/>
              <a:buNone/>
              <a:defRPr sz="738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335581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3075313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通常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03384" y="5836762"/>
            <a:ext cx="10800862" cy="54578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メッセージの入力（</a:t>
            </a:r>
            <a:r>
              <a:rPr lang="en-US" altLang="ja-JP"/>
              <a:t>50</a:t>
            </a:r>
            <a:r>
              <a:rPr lang="ja-JP" altLang="en-US"/>
              <a:t>文字以内）</a:t>
            </a:r>
            <a:endParaRPr lang="en-US" altLang="ja-JP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47264" y="0"/>
            <a:ext cx="11303332" cy="499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スライドタイトルの入力</a:t>
            </a:r>
          </a:p>
        </p:txBody>
      </p:sp>
    </p:spTree>
    <p:extLst>
      <p:ext uri="{BB962C8B-B14F-4D97-AF65-F5344CB8AC3E}">
        <p14:creationId xmlns:p14="http://schemas.microsoft.com/office/powerpoint/2010/main" val="1999298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692364C5-ABC3-0C4F-8E0D-6F668987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692364C5-ABC3-0C4F-8E0D-6F6689878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41445" y="2362200"/>
            <a:ext cx="10363200" cy="1143000"/>
          </a:xfrm>
        </p:spPr>
        <p:txBody>
          <a:bodyPr/>
          <a:lstStyle>
            <a:lvl1pPr algn="r">
              <a:defRPr sz="2400">
                <a:solidFill>
                  <a:schemeClr val="accent4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70245" y="3141666"/>
            <a:ext cx="8534400" cy="719137"/>
          </a:xfrm>
        </p:spPr>
        <p:txBody>
          <a:bodyPr/>
          <a:lstStyle>
            <a:lvl1pPr marL="0" indent="0" algn="r">
              <a:spcBef>
                <a:spcPct val="0"/>
              </a:spcBef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323E333F-0F6C-4FC7-A7F3-F21A7CDFE59D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8" name="正方形/長方形 7"/>
          <p:cNvSpPr/>
          <p:nvPr userDrawn="1"/>
        </p:nvSpPr>
        <p:spPr>
          <a:xfrm flipV="1">
            <a:off x="95333" y="3140971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 b="0" i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2357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2539CB52-F8E0-324D-8D5D-5FB7D93F8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2539CB52-F8E0-324D-8D5D-5FB7D93F8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36521" y="692699"/>
            <a:ext cx="11525251" cy="1007493"/>
          </a:xfrm>
        </p:spPr>
        <p:txBody>
          <a:bodyPr/>
          <a:lstStyle>
            <a:lvl1pPr marL="265113" indent="-265113">
              <a:buFont typeface="Arial" charset="0"/>
              <a:buChar char="•"/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2pPr>
            <a:lvl3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3pPr>
            <a:lvl4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4pPr>
            <a:lvl5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04833" y="6627168"/>
            <a:ext cx="2540000" cy="230832"/>
          </a:xfrm>
          <a:ln/>
        </p:spPr>
        <p:txBody>
          <a:bodyPr/>
          <a:lstStyle>
            <a:lvl1pPr>
              <a:defRPr sz="11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1CFF65B-A8B2-A742-960E-AEE2B0C95AC6}"/>
              </a:ext>
            </a:extLst>
          </p:cNvPr>
          <p:cNvSpPr txBox="1"/>
          <p:nvPr userDrawn="1"/>
        </p:nvSpPr>
        <p:spPr bwMode="auto">
          <a:xfrm>
            <a:off x="1" y="6629400"/>
            <a:ext cx="12763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Strictly Confidential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E61E06D-0804-AA4D-AD56-81FE58AB9EB9}"/>
              </a:ext>
            </a:extLst>
          </p:cNvPr>
          <p:cNvSpPr txBox="1"/>
          <p:nvPr userDrawn="1"/>
        </p:nvSpPr>
        <p:spPr bwMode="auto">
          <a:xfrm>
            <a:off x="9713700" y="6629400"/>
            <a:ext cx="247375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r"/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All Rights Reserved Recruit Co, Ltd 2020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2502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C17DF3C4-48CE-2A4C-8633-E29AA26FC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C17DF3C4-48CE-2A4C-8633-E29AA26FC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2000" b="1" cap="all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CFE70743-B45D-4C2D-9F53-822380FBB92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629878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FF8BF78-A82D-144F-A06A-BED1933A7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FF8BF78-A82D-144F-A06A-BED1933A7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245535" y="692153"/>
            <a:ext cx="5659967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108702" y="692153"/>
            <a:ext cx="5662084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02576F8-CB8C-4CDF-ACDC-D9135E817F8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68071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9B29765F-6ABE-2E4D-B364-7AE8BACD5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9B29765F-6ABE-2E4D-B364-7AE8BACD5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7328" y="130622"/>
            <a:ext cx="10972800" cy="418058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D9A2BBE0-68D9-49E1-B41C-BF65AA65B2CB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58764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4164698E-3811-7D49-917E-15A0B950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4164698E-3811-7D49-917E-15A0B950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FB6271AF-593C-4C79-9441-ADA0DF590AB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631060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2539CB52-F8E0-324D-8D5D-5FB7D93F8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097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2539CB52-F8E0-324D-8D5D-5FB7D93F8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36521" y="692699"/>
            <a:ext cx="11525251" cy="1007493"/>
          </a:xfrm>
        </p:spPr>
        <p:txBody>
          <a:bodyPr/>
          <a:lstStyle>
            <a:lvl1pPr marL="265113" indent="-265113">
              <a:buFont typeface="Arial" charset="0"/>
              <a:buChar char="•"/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2pPr>
            <a:lvl3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3pPr>
            <a:lvl4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4pPr>
            <a:lvl5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04833" y="6627168"/>
            <a:ext cx="2540000" cy="230832"/>
          </a:xfrm>
          <a:ln/>
        </p:spPr>
        <p:txBody>
          <a:bodyPr/>
          <a:lstStyle>
            <a:lvl1pPr>
              <a:defRPr sz="11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1CFF65B-A8B2-A742-960E-AEE2B0C95AC6}"/>
              </a:ext>
            </a:extLst>
          </p:cNvPr>
          <p:cNvSpPr txBox="1"/>
          <p:nvPr userDrawn="1"/>
        </p:nvSpPr>
        <p:spPr bwMode="auto">
          <a:xfrm>
            <a:off x="1" y="6629400"/>
            <a:ext cx="12763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Strictly Confidential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E61E06D-0804-AA4D-AD56-81FE58AB9EB9}"/>
              </a:ext>
            </a:extLst>
          </p:cNvPr>
          <p:cNvSpPr txBox="1"/>
          <p:nvPr userDrawn="1"/>
        </p:nvSpPr>
        <p:spPr bwMode="auto">
          <a:xfrm>
            <a:off x="9713699" y="6629400"/>
            <a:ext cx="247375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r"/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All Rights Reserved Recruit Co, Ltd 2020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4805EEF-BFD5-7E47-BA23-F01AA4AA6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4805EEF-BFD5-7E47-BA23-F01AA4AA6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853161F5-28EC-49E7-9F6A-699FC97E317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973314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B5EF93E-423E-0047-AE03-185A4C6EC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B5EF93E-423E-0047-AE03-185A4C6EC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28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2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6120A1F-D72B-4AFE-8DCD-89ACC908B363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09828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F44FC124-4ED1-5944-AD3A-7978DDA84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F44FC124-4ED1-5944-AD3A-7978DDA84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CBEFAA3-D428-4015-B0E7-F87178EBC26E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50720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F44FC124-4ED1-5944-AD3A-7978DDA84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F44FC124-4ED1-5944-AD3A-7978DDA84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CBEFAA3-D428-4015-B0E7-F87178EBC26E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5072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AE9A338-8EF3-E24E-B257-6BFAC36AF9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AE9A338-8EF3-E24E-B257-6BFAC36AF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57521FA-AC5D-4361-92AE-96CAB981DE4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4417557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0440156-9821-C843-B741-1CF8406E4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0440156-9821-C843-B741-1CF8406E4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879419" y="152403"/>
            <a:ext cx="289136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03202" y="152403"/>
            <a:ext cx="847301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1DD5941B-7BC5-40EA-BF7E-4FB4EBB3F66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812044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5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5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40000" y="152417"/>
            <a:ext cx="11712000" cy="37941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10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239741" y="692696"/>
            <a:ext cx="11712543" cy="720000"/>
          </a:xfrm>
          <a:prstGeom prst="rect">
            <a:avLst/>
          </a:prstGeom>
        </p:spPr>
        <p:txBody>
          <a:bodyPr anchor="t"/>
          <a:lstStyle>
            <a:lvl1pPr marL="263776" indent="-263776">
              <a:buClrTx/>
              <a:buFont typeface="Arial" panose="020B0604020202020204" pitchFamily="34" charset="0"/>
              <a:buChar char="•"/>
              <a:defRPr sz="1477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599357" indent="-263776">
              <a:buFont typeface="Wingdings" panose="05000000000000000000" pitchFamily="2" charset="2"/>
              <a:buChar char="ü"/>
              <a:defRPr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3"/>
          </p:nvPr>
        </p:nvSpPr>
        <p:spPr>
          <a:xfrm>
            <a:off x="239741" y="6309352"/>
            <a:ext cx="11712543" cy="288000"/>
          </a:xfrm>
          <a:prstGeom prst="rect">
            <a:avLst/>
          </a:prstGeom>
        </p:spPr>
        <p:txBody>
          <a:bodyPr anchor="b"/>
          <a:lstStyle>
            <a:lvl1pPr marL="0" indent="0">
              <a:buClrTx/>
              <a:buFont typeface="Arial" panose="020B0604020202020204" pitchFamily="34" charset="0"/>
              <a:buNone/>
              <a:defRPr sz="738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335581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480605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5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5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40000" y="152417"/>
            <a:ext cx="11712000" cy="37941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10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239741" y="692696"/>
            <a:ext cx="11712543" cy="720000"/>
          </a:xfrm>
          <a:prstGeom prst="rect">
            <a:avLst/>
          </a:prstGeom>
        </p:spPr>
        <p:txBody>
          <a:bodyPr anchor="t"/>
          <a:lstStyle>
            <a:lvl1pPr marL="263776" indent="-263776">
              <a:buClrTx/>
              <a:buFont typeface="Arial" panose="020B0604020202020204" pitchFamily="34" charset="0"/>
              <a:buChar char="•"/>
              <a:defRPr sz="1477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599357" indent="-263776">
              <a:buFont typeface="Wingdings" panose="05000000000000000000" pitchFamily="2" charset="2"/>
              <a:buChar char="ü"/>
              <a:defRPr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2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endParaRPr kumimoji="1" lang="en-US" altLang="ja-JP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3"/>
          </p:nvPr>
        </p:nvSpPr>
        <p:spPr>
          <a:xfrm>
            <a:off x="239741" y="6309352"/>
            <a:ext cx="11712543" cy="288000"/>
          </a:xfrm>
          <a:prstGeom prst="rect">
            <a:avLst/>
          </a:prstGeom>
        </p:spPr>
        <p:txBody>
          <a:bodyPr anchor="b"/>
          <a:lstStyle>
            <a:lvl1pPr marL="0" indent="0">
              <a:buClrTx/>
              <a:buFont typeface="Arial" panose="020B0604020202020204" pitchFamily="34" charset="0"/>
              <a:buNone/>
              <a:defRPr sz="738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335581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30480605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91877" y="2124001"/>
            <a:ext cx="6371438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868431" y="6588000"/>
            <a:ext cx="5006769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1042326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66752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1"/>
            <a:ext cx="5582769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eiryo UI" panose="020B0604030504040204" pitchFamily="50" charset="-128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1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495283" indent="0" algn="ctr">
              <a:buNone/>
              <a:defRPr sz="2200"/>
            </a:lvl2pPr>
            <a:lvl3pPr marL="990564" indent="0" algn="ctr">
              <a:buNone/>
              <a:defRPr sz="2000"/>
            </a:lvl3pPr>
            <a:lvl4pPr marL="1485846" indent="0" algn="ctr">
              <a:buNone/>
              <a:defRPr sz="1700"/>
            </a:lvl4pPr>
            <a:lvl5pPr marL="1981127" indent="0" algn="ctr">
              <a:buNone/>
              <a:defRPr sz="1700"/>
            </a:lvl5pPr>
            <a:lvl6pPr marL="2476410" indent="0" algn="ctr">
              <a:buNone/>
              <a:defRPr sz="1700"/>
            </a:lvl6pPr>
            <a:lvl7pPr marL="2971692" indent="0" algn="ctr">
              <a:buNone/>
              <a:defRPr sz="1700"/>
            </a:lvl7pPr>
            <a:lvl8pPr marL="3466973" indent="0" algn="ctr">
              <a:buNone/>
              <a:defRPr sz="1700"/>
            </a:lvl8pPr>
            <a:lvl9pPr marL="3962255" indent="0" algn="ctr">
              <a:buNone/>
              <a:defRPr sz="1700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0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513970" y="6192000"/>
            <a:ext cx="2971967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baseline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  <a:sym typeface="Meiryo UI" panose="020B0604030504040204" pitchFamily="50" charset="-128"/>
              </a:rPr>
              <a:t>デロイト トーマツ コンサルティング</a:t>
            </a:r>
            <a:r>
              <a:rPr lang="ja-JP" altLang="en-US" sz="1400" kern="1200" baseline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  <a:sym typeface="Meiryo UI" panose="020B0604030504040204" pitchFamily="50" charset="-128"/>
              </a:rPr>
              <a:t>合同</a:t>
            </a:r>
            <a:r>
              <a:rPr lang="ja-JP" altLang="ja-JP" sz="1400" kern="1200" baseline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  <a:sym typeface="Meiryo UI" panose="020B0604030504040204" pitchFamily="50" charset="-128"/>
              </a:rPr>
              <a:t>会社</a:t>
            </a:r>
            <a:endParaRPr lang="en-US" altLang="ja-JP" sz="1400" kern="1200" baseline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charset="0"/>
              <a:sym typeface="Meiryo UI" panose="020B0604030504040204" pitchFamily="50" charset="-128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00" y="396000"/>
            <a:ext cx="5582769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2610" y="432000"/>
            <a:ext cx="2304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8236535" y="6106206"/>
            <a:ext cx="348202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6257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C17DF3C4-48CE-2A4C-8633-E29AA26FC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111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C17DF3C4-48CE-2A4C-8633-E29AA26FC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2000" b="1" cap="all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CFE70743-B45D-4C2D-9F53-822380FBB92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28388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3105231" y="999000"/>
            <a:ext cx="5981538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3969" y="5040001"/>
            <a:ext cx="5582769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eiryo UI" panose="020B0604030504040204" pitchFamily="50" charset="-128"/>
              </a:defRPr>
            </a:lvl1pPr>
          </a:lstStyle>
          <a:p>
            <a:r>
              <a:rPr lang="ja-JP" altLang="en-US" noProof="0"/>
              <a:t>表紙タイトル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3969" y="5652001"/>
            <a:ext cx="5582769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 marL="495283" indent="0" algn="ctr">
              <a:buNone/>
              <a:defRPr sz="2200"/>
            </a:lvl2pPr>
            <a:lvl3pPr marL="990564" indent="0" algn="ctr">
              <a:buNone/>
              <a:defRPr sz="2000"/>
            </a:lvl3pPr>
            <a:lvl4pPr marL="1485846" indent="0" algn="ctr">
              <a:buNone/>
              <a:defRPr sz="1700"/>
            </a:lvl4pPr>
            <a:lvl5pPr marL="1981127" indent="0" algn="ctr">
              <a:buNone/>
              <a:defRPr sz="1700"/>
            </a:lvl5pPr>
            <a:lvl6pPr marL="2476410" indent="0" algn="ctr">
              <a:buNone/>
              <a:defRPr sz="1700"/>
            </a:lvl6pPr>
            <a:lvl7pPr marL="2971692" indent="0" algn="ctr">
              <a:buNone/>
              <a:defRPr sz="1700"/>
            </a:lvl7pPr>
            <a:lvl8pPr marL="3466973" indent="0" algn="ctr">
              <a:buNone/>
              <a:defRPr sz="1700"/>
            </a:lvl8pPr>
            <a:lvl9pPr marL="3962255" indent="0" algn="ctr">
              <a:buNone/>
              <a:defRPr sz="1700"/>
            </a:lvl9pPr>
          </a:lstStyle>
          <a:p>
            <a:r>
              <a:rPr lang="ja-JP" altLang="en-US" noProof="0"/>
              <a:t>表紙サブタイトル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513968" y="6408000"/>
            <a:ext cx="5582769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097249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61978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317538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  <a:lvl2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2pPr>
            <a:lvl3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3pPr>
            <a:lvl4pPr>
              <a:tabLst>
                <a:tab pos="5448101" algn="r"/>
              </a:tabLst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065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0619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2340923" y="2367864"/>
            <a:ext cx="7510154" cy="2487600"/>
          </a:xfrm>
          <a:prstGeom prst="rect">
            <a:avLst/>
          </a:prstGeo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97837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22219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91877" y="2124001"/>
            <a:ext cx="6371438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</p:spTree>
    <p:extLst>
      <p:ext uri="{BB962C8B-B14F-4D97-AF65-F5344CB8AC3E}">
        <p14:creationId xmlns:p14="http://schemas.microsoft.com/office/powerpoint/2010/main" val="21167708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06667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513231" y="6588000"/>
            <a:ext cx="221538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95408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1406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513231" y="6588000"/>
            <a:ext cx="221538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13231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9401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76126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6316785" y="1476000"/>
            <a:ext cx="5361231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>
          <a:xfrm>
            <a:off x="513231" y="6588000"/>
            <a:ext cx="221538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16785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92028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4262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1" y="1476000"/>
            <a:ext cx="11165538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513231" y="6588000"/>
            <a:ext cx="221538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altLang="en-GB"/>
              <a:t>Proposal Template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016000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49297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259250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28" imgH="528" progId="TCLayout.ActiveDocument.1">
                  <p:embed/>
                </p:oleObj>
              </mc:Choice>
              <mc:Fallback>
                <p:oleObj name="think-cell スライド" r:id="rId3" imgW="528" imgH="528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868431" y="6588000"/>
            <a:ext cx="5006769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>
                <a:solidFill>
                  <a:prstClr val="black"/>
                </a:solidFill>
              </a:rPr>
              <a:t>IT</a:t>
            </a:r>
            <a:r>
              <a:rPr lang="ja-JP" altLang="en-US">
                <a:solidFill>
                  <a:prstClr val="black"/>
                </a:solidFill>
              </a:rPr>
              <a:t>マネジメント機能強化に向けた情報企画室支援のご提案</a:t>
            </a:r>
            <a:endParaRPr lang="en-GB" altLang="en-GB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56E56C22-CD92-4A50-AAD1-E2171E0619BD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3231" y="1009580"/>
            <a:ext cx="11165538" cy="456792"/>
          </a:xfrm>
          <a:prstGeom prst="rect">
            <a:avLst/>
          </a:prstGeom>
        </p:spPr>
        <p:txBody>
          <a:bodyPr lIns="72000" tIns="0" rIns="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補足文を入力（キーメッセージを補足する内容＜</a:t>
            </a:r>
            <a:r>
              <a:rPr kumimoji="1" lang="en-US" altLang="ja-JP"/>
              <a:t>2</a:t>
            </a:r>
            <a:r>
              <a:rPr kumimoji="1" lang="ja-JP" altLang="en-US"/>
              <a:t>行以内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484313"/>
            <a:ext cx="5361231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40645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67839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28" imgH="528" progId="TCLayout.ActiveDocument.1">
                  <p:embed/>
                </p:oleObj>
              </mc:Choice>
              <mc:Fallback>
                <p:oleObj name="think-cell スライド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95385" cy="15875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buFont typeface="Wingdings 2" pitchFamily="18" charset="2"/>
              <a:buNone/>
            </a:pPr>
            <a:endParaRPr kumimoji="1" lang="en-US" altLang="ja-JP" sz="2000" b="1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266537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FF8BF78-A82D-144F-A06A-BED1933A7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789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FF8BF78-A82D-144F-A06A-BED1933A7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245535" y="692153"/>
            <a:ext cx="5659967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108702" y="692153"/>
            <a:ext cx="5662084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02576F8-CB8C-4CDF-ACDC-D9135E817F8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519796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35" imgH="212" progId="TCLayout.ActiveDocument.1">
                  <p:embed/>
                </p:oleObj>
              </mc:Choice>
              <mc:Fallback>
                <p:oleObj name="think-cell スライド" r:id="rId4" imgW="235" imgH="212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95385" cy="15875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1">
              <a:buFont typeface="Wingdings 2" pitchFamily="18" charset="2"/>
              <a:buNone/>
            </a:pPr>
            <a:endParaRPr kumimoji="1" lang="en-US" altLang="ja-JP" sz="2000" b="1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517460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84941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35" imgH="212" progId="TCLayout.ActiveDocument.1">
                  <p:embed/>
                </p:oleObj>
              </mc:Choice>
              <mc:Fallback>
                <p:oleObj name="think-cell スライド" r:id="rId3" imgW="235" imgH="212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513231" y="1476000"/>
            <a:ext cx="11165538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4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  <a:lvl2pPr marL="230400" indent="-2304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n"/>
              <a:defRPr sz="14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2pPr>
            <a:lvl3pPr marL="460800" indent="-230400">
              <a:lnSpc>
                <a:spcPct val="100000"/>
              </a:lnSpc>
              <a:spcBef>
                <a:spcPts val="300"/>
              </a:spcBef>
              <a:buFont typeface="Wingdings" pitchFamily="2" charset="2"/>
              <a:buChar char="Ø"/>
              <a:defRPr sz="14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3pPr>
            <a:lvl4pPr marL="691200" indent="-230400">
              <a:lnSpc>
                <a:spcPct val="100000"/>
              </a:lnSpc>
              <a:spcBef>
                <a:spcPts val="200"/>
              </a:spcBef>
              <a:buFont typeface="Arial" pitchFamily="34" charset="0"/>
              <a:buChar char="•"/>
              <a:defRPr sz="1400" baseline="0"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231" y="1016000"/>
            <a:ext cx="5361231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>
              <a:defRPr lang="ja-JP" altLang="en-US" sz="1800" b="1" dirty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513231" y="136800"/>
            <a:ext cx="11165538" cy="651600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513969" y="6588000"/>
            <a:ext cx="221538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291311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692364C5-ABC3-0C4F-8E0D-6F668987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692364C5-ABC3-0C4F-8E0D-6F6689878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41445" y="2362200"/>
            <a:ext cx="10363200" cy="1143000"/>
          </a:xfrm>
        </p:spPr>
        <p:txBody>
          <a:bodyPr/>
          <a:lstStyle>
            <a:lvl1pPr algn="r">
              <a:defRPr sz="2400">
                <a:solidFill>
                  <a:schemeClr val="accent4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70245" y="3141666"/>
            <a:ext cx="8534400" cy="719137"/>
          </a:xfrm>
        </p:spPr>
        <p:txBody>
          <a:bodyPr/>
          <a:lstStyle>
            <a:lvl1pPr marL="0" indent="0" algn="r">
              <a:spcBef>
                <a:spcPct val="0"/>
              </a:spcBef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323E333F-0F6C-4FC7-A7F3-F21A7CDFE59D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8" name="正方形/長方形 7"/>
          <p:cNvSpPr/>
          <p:nvPr userDrawn="1"/>
        </p:nvSpPr>
        <p:spPr>
          <a:xfrm flipV="1">
            <a:off x="95333" y="3140971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 b="0" i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0028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2539CB52-F8E0-324D-8D5D-5FB7D93F8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2539CB52-F8E0-324D-8D5D-5FB7D93F8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36521" y="692699"/>
            <a:ext cx="11525251" cy="1007493"/>
          </a:xfrm>
        </p:spPr>
        <p:txBody>
          <a:bodyPr/>
          <a:lstStyle>
            <a:lvl1pPr marL="265113" indent="-265113">
              <a:buFont typeface="Arial" charset="0"/>
              <a:buChar char="•"/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2pPr>
            <a:lvl3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3pPr>
            <a:lvl4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4pPr>
            <a:lvl5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04833" y="6627168"/>
            <a:ext cx="2540000" cy="230832"/>
          </a:xfrm>
          <a:ln/>
        </p:spPr>
        <p:txBody>
          <a:bodyPr/>
          <a:lstStyle>
            <a:lvl1pPr>
              <a:defRPr sz="11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1CFF65B-A8B2-A742-960E-AEE2B0C95AC6}"/>
              </a:ext>
            </a:extLst>
          </p:cNvPr>
          <p:cNvSpPr txBox="1"/>
          <p:nvPr userDrawn="1"/>
        </p:nvSpPr>
        <p:spPr bwMode="auto">
          <a:xfrm>
            <a:off x="1" y="6629400"/>
            <a:ext cx="12763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Strictly Confidential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E61E06D-0804-AA4D-AD56-81FE58AB9EB9}"/>
              </a:ext>
            </a:extLst>
          </p:cNvPr>
          <p:cNvSpPr txBox="1"/>
          <p:nvPr userDrawn="1"/>
        </p:nvSpPr>
        <p:spPr bwMode="auto">
          <a:xfrm>
            <a:off x="9713700" y="6629400"/>
            <a:ext cx="247375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r"/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All Rights Reserved Recruit Co, Ltd 2020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99623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C17DF3C4-48CE-2A4C-8633-E29AA26FC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C17DF3C4-48CE-2A4C-8633-E29AA26FC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2000" b="1" cap="all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CFE70743-B45D-4C2D-9F53-822380FBB92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374247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FF8BF78-A82D-144F-A06A-BED1933A7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FF8BF78-A82D-144F-A06A-BED1933A7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245535" y="692153"/>
            <a:ext cx="5659967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108702" y="692153"/>
            <a:ext cx="5662084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02576F8-CB8C-4CDF-ACDC-D9135E817F8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61325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9B29765F-6ABE-2E4D-B364-7AE8BACD5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9B29765F-6ABE-2E4D-B364-7AE8BACD5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7328" y="130622"/>
            <a:ext cx="10972800" cy="418058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D9A2BBE0-68D9-49E1-B41C-BF65AA65B2CB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03219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4164698E-3811-7D49-917E-15A0B950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4164698E-3811-7D49-917E-15A0B950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FB6271AF-593C-4C79-9441-ADA0DF590AB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3227663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4805EEF-BFD5-7E47-BA23-F01AA4AA6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4805EEF-BFD5-7E47-BA23-F01AA4AA6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853161F5-28EC-49E7-9F6A-699FC97E317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8897537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B5EF93E-423E-0047-AE03-185A4C6EC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B5EF93E-423E-0047-AE03-185A4C6EC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28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2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6120A1F-D72B-4AFE-8DCD-89ACC908B363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179839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9B29765F-6ABE-2E4D-B364-7AE8BACD5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786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9B29765F-6ABE-2E4D-B364-7AE8BACD5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7328" y="130622"/>
            <a:ext cx="10972800" cy="418058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D9A2BBE0-68D9-49E1-B41C-BF65AA65B2CB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F44FC124-4ED1-5944-AD3A-7978DDA84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F44FC124-4ED1-5944-AD3A-7978DDA84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CBEFAA3-D428-4015-B0E7-F87178EBC26E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725195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AE9A338-8EF3-E24E-B257-6BFAC36AF9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AE9A338-8EF3-E24E-B257-6BFAC36AF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57521FA-AC5D-4361-92AE-96CAB981DE4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70841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0440156-9821-C843-B741-1CF8406E4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0440156-9821-C843-B741-1CF8406E4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879419" y="152403"/>
            <a:ext cx="289136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03202" y="152403"/>
            <a:ext cx="847301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1DD5941B-7BC5-40EA-BF7E-4FB4EBB3F66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929047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5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5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40000" y="152417"/>
            <a:ext cx="11712000" cy="37941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10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239741" y="692696"/>
            <a:ext cx="11712543" cy="720000"/>
          </a:xfrm>
          <a:prstGeom prst="rect">
            <a:avLst/>
          </a:prstGeom>
        </p:spPr>
        <p:txBody>
          <a:bodyPr anchor="t"/>
          <a:lstStyle>
            <a:lvl1pPr marL="263776" indent="-263776">
              <a:buClrTx/>
              <a:buFont typeface="Arial" panose="020B0604020202020204" pitchFamily="34" charset="0"/>
              <a:buChar char="•"/>
              <a:defRPr sz="1477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599357" indent="-263776">
              <a:buFont typeface="Wingdings" panose="05000000000000000000" pitchFamily="2" charset="2"/>
              <a:buChar char="ü"/>
              <a:defRPr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3"/>
          </p:nvPr>
        </p:nvSpPr>
        <p:spPr>
          <a:xfrm>
            <a:off x="239741" y="6309352"/>
            <a:ext cx="11712543" cy="288000"/>
          </a:xfrm>
          <a:prstGeom prst="rect">
            <a:avLst/>
          </a:prstGeom>
        </p:spPr>
        <p:txBody>
          <a:bodyPr anchor="b"/>
          <a:lstStyle>
            <a:lvl1pPr marL="0" indent="0">
              <a:buClrTx/>
              <a:buFont typeface="Arial" panose="020B0604020202020204" pitchFamily="34" charset="0"/>
              <a:buNone/>
              <a:defRPr sz="738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335581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4282055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692364C5-ABC3-0C4F-8E0D-6F6689878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692364C5-ABC3-0C4F-8E0D-6F6689878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41445" y="2362200"/>
            <a:ext cx="10363200" cy="1143000"/>
          </a:xfrm>
        </p:spPr>
        <p:txBody>
          <a:bodyPr/>
          <a:lstStyle>
            <a:lvl1pPr algn="r">
              <a:defRPr sz="2400">
                <a:solidFill>
                  <a:schemeClr val="accent4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70245" y="3141666"/>
            <a:ext cx="8534400" cy="719137"/>
          </a:xfrm>
        </p:spPr>
        <p:txBody>
          <a:bodyPr/>
          <a:lstStyle>
            <a:lvl1pPr marL="0" indent="0" algn="r">
              <a:spcBef>
                <a:spcPct val="0"/>
              </a:spcBef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323E333F-0F6C-4FC7-A7F3-F21A7CDFE59D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8" name="正方形/長方形 7"/>
          <p:cNvSpPr/>
          <p:nvPr userDrawn="1"/>
        </p:nvSpPr>
        <p:spPr>
          <a:xfrm flipV="1">
            <a:off x="95333" y="3140971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 b="0" i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23576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2539CB52-F8E0-324D-8D5D-5FB7D93F8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2539CB52-F8E0-324D-8D5D-5FB7D93F8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36521" y="692699"/>
            <a:ext cx="11525251" cy="1007493"/>
          </a:xfrm>
        </p:spPr>
        <p:txBody>
          <a:bodyPr/>
          <a:lstStyle>
            <a:lvl1pPr marL="265113" indent="-265113">
              <a:buFont typeface="Arial" charset="0"/>
              <a:buChar char="•"/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2pPr>
            <a:lvl3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3pPr>
            <a:lvl4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4pPr>
            <a:lvl5pPr>
              <a:defRPr sz="1400"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04833" y="6627168"/>
            <a:ext cx="2540000" cy="230832"/>
          </a:xfrm>
          <a:ln/>
        </p:spPr>
        <p:txBody>
          <a:bodyPr/>
          <a:lstStyle>
            <a:lvl1pPr>
              <a:defRPr sz="11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1CFF65B-A8B2-A742-960E-AEE2B0C95AC6}"/>
              </a:ext>
            </a:extLst>
          </p:cNvPr>
          <p:cNvSpPr txBox="1"/>
          <p:nvPr userDrawn="1"/>
        </p:nvSpPr>
        <p:spPr bwMode="auto">
          <a:xfrm>
            <a:off x="1" y="6629400"/>
            <a:ext cx="12763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Strictly Confidential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E61E06D-0804-AA4D-AD56-81FE58AB9EB9}"/>
              </a:ext>
            </a:extLst>
          </p:cNvPr>
          <p:cNvSpPr txBox="1"/>
          <p:nvPr userDrawn="1"/>
        </p:nvSpPr>
        <p:spPr bwMode="auto">
          <a:xfrm>
            <a:off x="9713700" y="6629400"/>
            <a:ext cx="247375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r"/>
            <a:r>
              <a:rPr kumimoji="1" lang="en-US" altLang="ja-JP" sz="9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  <a:sym typeface="MS UI Gothic" panose="020B0600070205080204" pitchFamily="34" charset="-128"/>
              </a:rPr>
              <a:t>All Rights Reserved Recruit Co, Ltd 2020</a:t>
            </a:r>
            <a:endParaRPr kumimoji="1" lang="ja-JP" altLang="en-US" sz="900" b="0" i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25024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C17DF3C4-48CE-2A4C-8633-E29AA26FC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C17DF3C4-48CE-2A4C-8633-E29AA26FC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2000" b="1" cap="all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CFE70743-B45D-4C2D-9F53-822380FBB92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629878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FF8BF78-A82D-144F-A06A-BED1933A7A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FF8BF78-A82D-144F-A06A-BED1933A7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245535" y="692153"/>
            <a:ext cx="5659967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108702" y="692153"/>
            <a:ext cx="5662084" cy="5688013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02576F8-CB8C-4CDF-ACDC-D9135E817F8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680719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9B29765F-6ABE-2E4D-B364-7AE8BACD5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9B29765F-6ABE-2E4D-B364-7AE8BACD5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7328" y="130622"/>
            <a:ext cx="10972800" cy="418058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4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D9A2BBE0-68D9-49E1-B41C-BF65AA65B2CB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587645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4164698E-3811-7D49-917E-15A0B950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4164698E-3811-7D49-917E-15A0B950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FB6271AF-593C-4C79-9441-ADA0DF590AB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63106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4164698E-3811-7D49-917E-15A0B950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152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4164698E-3811-7D49-917E-15A0B950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FB6271AF-593C-4C79-9441-ADA0DF590AB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4805EEF-BFD5-7E47-BA23-F01AA4AA6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4805EEF-BFD5-7E47-BA23-F01AA4AA6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853161F5-28EC-49E7-9F6A-699FC97E317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973314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B5EF93E-423E-0047-AE03-185A4C6EC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B5EF93E-423E-0047-AE03-185A4C6EC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28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2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6120A1F-D72B-4AFE-8DCD-89ACC908B363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098286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F44FC124-4ED1-5944-AD3A-7978DDA84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F44FC124-4ED1-5944-AD3A-7978DDA84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CBEFAA3-D428-4015-B0E7-F87178EBC26E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50720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DAE9A338-8EF3-E24E-B257-6BFAC36AF9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DAE9A338-8EF3-E24E-B257-6BFAC36AF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757521FA-AC5D-4361-92AE-96CAB981DE4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441755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0440156-9821-C843-B741-1CF8406E4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0440156-9821-C843-B741-1CF8406E4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879419" y="152403"/>
            <a:ext cx="289136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03202" y="152403"/>
            <a:ext cx="8473017" cy="6227763"/>
          </a:xfrm>
        </p:spPr>
        <p:txBody>
          <a:bodyPr vert="eaVert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1DD5941B-7BC5-40EA-BF7E-4FB4EBB3F66F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812044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5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5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40000" y="152417"/>
            <a:ext cx="11712000" cy="37941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EB72A429-DDC7-41CC-AC2C-79132BE5962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10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239741" y="692696"/>
            <a:ext cx="11712543" cy="720000"/>
          </a:xfrm>
          <a:prstGeom prst="rect">
            <a:avLst/>
          </a:prstGeom>
        </p:spPr>
        <p:txBody>
          <a:bodyPr anchor="t"/>
          <a:lstStyle>
            <a:lvl1pPr marL="263776" indent="-263776">
              <a:buClrTx/>
              <a:buFont typeface="Arial" panose="020B0604020202020204" pitchFamily="34" charset="0"/>
              <a:buChar char="•"/>
              <a:defRPr sz="1477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599357" indent="-263776">
              <a:buFont typeface="Wingdings" panose="05000000000000000000" pitchFamily="2" charset="2"/>
              <a:buChar char="ü"/>
              <a:defRPr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3"/>
          </p:nvPr>
        </p:nvSpPr>
        <p:spPr>
          <a:xfrm>
            <a:off x="239741" y="6309352"/>
            <a:ext cx="11712543" cy="288000"/>
          </a:xfrm>
          <a:prstGeom prst="rect">
            <a:avLst/>
          </a:prstGeom>
        </p:spPr>
        <p:txBody>
          <a:bodyPr anchor="b"/>
          <a:lstStyle>
            <a:lvl1pPr marL="0" indent="0">
              <a:buClrTx/>
              <a:buFont typeface="Arial" panose="020B0604020202020204" pitchFamily="34" charset="0"/>
              <a:buNone/>
              <a:defRPr sz="738"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  <a:sym typeface="MS UI Gothic" panose="020B0600070205080204" pitchFamily="34" charset="-128"/>
              </a:defRPr>
            </a:lvl1pPr>
            <a:lvl2pPr marL="335581" indent="0">
              <a:buFont typeface="Wingdings" panose="05000000000000000000" pitchFamily="2" charset="2"/>
              <a:buNone/>
              <a:defRPr/>
            </a:lvl2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480605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191877" y="2124001"/>
            <a:ext cx="6371438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868431" y="6588000"/>
            <a:ext cx="5006769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/>
          </a:p>
        </p:txBody>
      </p:sp>
    </p:spTree>
    <p:extLst>
      <p:ext uri="{BB962C8B-B14F-4D97-AF65-F5344CB8AC3E}">
        <p14:creationId xmlns:p14="http://schemas.microsoft.com/office/powerpoint/2010/main" val="1170499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4805EEF-BFD5-7E47-BA23-F01AA4AA67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5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4805EEF-BFD5-7E47-BA23-F01AA4AA6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853161F5-28EC-49E7-9F6A-699FC97E317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B5EF93E-423E-0047-AE03-185A4C6EC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610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B5EF93E-423E-0047-AE03-185A4C6EC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>
              <a:defRPr sz="28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2pPr>
            <a:lvl3pPr>
              <a:defRPr sz="2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3pPr>
            <a:lvl4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4pPr>
            <a:lvl5pPr>
              <a:defRPr sz="20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6120A1F-D72B-4AFE-8DCD-89ACC908B363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F44FC124-4ED1-5944-AD3A-7978DDA84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659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7772400" imgH="10058400" progId="TCLayout.ActiveDocument.1">
                  <p:embed/>
                </p:oleObj>
              </mc:Choice>
              <mc:Fallback>
                <p:oleObj name="think-cell スライド" r:id="rId3" imgW="7772400" imgH="10058400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F44FC124-4ED1-5944-AD3A-7978DDA84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CBEFAA3-D428-4015-B0E7-F87178EBC26E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6.xml"/><Relationship Id="rId21" Type="http://schemas.openxmlformats.org/officeDocument/2006/relationships/image" Target="NUL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13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35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4.xml"/><Relationship Id="rId18" Type="http://schemas.openxmlformats.org/officeDocument/2006/relationships/image" Target="NUL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5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52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oleObject" Target="../embeddings/oleObject24.bin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68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6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66.xml"/><Relationship Id="rId10" Type="http://schemas.openxmlformats.org/officeDocument/2006/relationships/slideLayout" Target="../slideLayouts/slideLayout63.xml"/><Relationship Id="rId19" Type="http://schemas.openxmlformats.org/officeDocument/2006/relationships/image" Target="NUL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3E84B6F-E227-A249-B3CD-988C62806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454053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8" imgW="3886200" imgH="5029200" progId="TCLayout.ActiveDocument.1">
                  <p:embed/>
                </p:oleObj>
              </mc:Choice>
              <mc:Fallback>
                <p:oleObj name="think-cell スライド" r:id="rId18" imgW="3886200" imgH="50292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3E84B6F-E227-A249-B3CD-988C62806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lvl="0" indent="0" algn="ctr" eaLnBrk="1"/>
            <a:endParaRPr kumimoji="1" lang="ja-JP" altLang="en-US" sz="1800" b="0" i="0" baseline="0">
              <a:solidFill>
                <a:schemeClr val="accent4">
                  <a:lumMod val="65000"/>
                  <a:lumOff val="3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Hiragino Kaku Gothic Pro W3" charset="-128"/>
              <a:sym typeface="Meiryo UI" panose="020B0604030504040204" pitchFamily="50" charset="-128"/>
            </a:endParaRPr>
          </a:p>
        </p:txBody>
      </p:sp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2D9CD71-4F79-BF42-8FF3-F5F2E4E3B1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00" b="0" i="0" baseline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Hiragino Kaku Gothic Pro W3" charset="-128"/>
              <a:sym typeface="MS UI Gothic" panose="020B0600070205080204" pitchFamily="34" charset="-128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3"/>
            <a:ext cx="11480800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916" tIns="43958" rIns="87916" bIns="4395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0125" y="836715"/>
            <a:ext cx="11525251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33" y="6453188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2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517E3F9-F1F1-46C5-A063-BEDE16EE36C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7" name="正方形/長方形 6"/>
          <p:cNvSpPr/>
          <p:nvPr/>
        </p:nvSpPr>
        <p:spPr>
          <a:xfrm flipV="1">
            <a:off x="95331" y="548682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  <p:sp>
        <p:nvSpPr>
          <p:cNvPr id="9" name="正方形/長方形 8"/>
          <p:cNvSpPr/>
          <p:nvPr userDrawn="1"/>
        </p:nvSpPr>
        <p:spPr>
          <a:xfrm flipH="1" flipV="1">
            <a:off x="76627" y="6597354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60" r:id="rId2"/>
    <p:sldLayoutId id="2147485261" r:id="rId3"/>
    <p:sldLayoutId id="2147485262" r:id="rId4"/>
    <p:sldLayoutId id="2147485263" r:id="rId5"/>
    <p:sldLayoutId id="2147485264" r:id="rId6"/>
    <p:sldLayoutId id="2147485265" r:id="rId7"/>
    <p:sldLayoutId id="2147485266" r:id="rId8"/>
    <p:sldLayoutId id="2147485267" r:id="rId9"/>
    <p:sldLayoutId id="2147485268" r:id="rId10"/>
    <p:sldLayoutId id="2147485269" r:id="rId11"/>
    <p:sldLayoutId id="2147485271" r:id="rId12"/>
    <p:sldLayoutId id="2147485293" r:id="rId13"/>
  </p:sldLayoutIdLst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S UI Gothic" panose="020B0600070205080204" pitchFamily="34" charset="-128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3E84B6F-E227-A249-B3CD-988C62806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1237522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0" imgW="3886200" imgH="5029200" progId="TCLayout.ActiveDocument.1">
                  <p:embed/>
                </p:oleObj>
              </mc:Choice>
              <mc:Fallback>
                <p:oleObj name="think-cell スライド" r:id="rId20" imgW="3886200" imgH="50292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3E84B6F-E227-A249-B3CD-988C62806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/>
            <a:endParaRPr kumimoji="1" lang="ja-JP" altLang="en-US" sz="1800" b="0" i="0" baseline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50" charset="-128"/>
            </a:endParaRPr>
          </a:p>
        </p:txBody>
      </p:sp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2D9CD71-4F79-BF42-8FF3-F5F2E4E3B1E8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00" b="0" i="0" baseline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Hiragino Kaku Gothic Pro W3" charset="-128"/>
              <a:sym typeface="MS UI Gothic" panose="020B0600070205080204" pitchFamily="34" charset="-128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3"/>
            <a:ext cx="11480800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0125" y="836715"/>
            <a:ext cx="11525251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33" y="6453188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2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517E3F9-F1F1-46C5-A063-BEDE16EE36C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7" name="正方形/長方形 6"/>
          <p:cNvSpPr/>
          <p:nvPr/>
        </p:nvSpPr>
        <p:spPr>
          <a:xfrm flipV="1">
            <a:off x="95331" y="548682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  <p:sp>
        <p:nvSpPr>
          <p:cNvPr id="9" name="正方形/長方形 8"/>
          <p:cNvSpPr/>
          <p:nvPr userDrawn="1"/>
        </p:nvSpPr>
        <p:spPr>
          <a:xfrm flipH="1" flipV="1">
            <a:off x="76627" y="6597354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2465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5276" r:id="rId9"/>
    <p:sldLayoutId id="2147483669" r:id="rId10"/>
    <p:sldLayoutId id="2147483670" r:id="rId11"/>
    <p:sldLayoutId id="2147483671" r:id="rId12"/>
    <p:sldLayoutId id="2147485277" r:id="rId13"/>
    <p:sldLayoutId id="2147483672" r:id="rId14"/>
    <p:sldLayoutId id="2147485292" r:id="rId15"/>
  </p:sldLayoutIdLst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S UI Gothic" panose="020B0600070205080204" pitchFamily="34" charset="-128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5104135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6" imgW="444" imgH="443" progId="TCLayout.ActiveDocument.1">
                  <p:embed/>
                </p:oleObj>
              </mc:Choice>
              <mc:Fallback>
                <p:oleObj name="think-cell スライド" r:id="rId16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3231" y="136800"/>
            <a:ext cx="11165538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868431" y="6588000"/>
            <a:ext cx="5006769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Proposal Template</a:t>
            </a: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513231" y="6588000"/>
            <a:ext cx="221538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  <a:sym typeface="Meiryo UI" panose="020B0604030504040204" pitchFamily="50" charset="-128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513231" y="1476000"/>
            <a:ext cx="5361231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  <p:sp>
        <p:nvSpPr>
          <p:cNvPr id="10" name="Text Box 37"/>
          <p:cNvSpPr txBox="1">
            <a:spLocks noChangeArrowheads="1"/>
          </p:cNvSpPr>
          <p:nvPr userDrawn="1"/>
        </p:nvSpPr>
        <p:spPr bwMode="gray">
          <a:xfrm>
            <a:off x="6317538" y="6588000"/>
            <a:ext cx="5361231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FR" altLang="ja-JP" sz="9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rPr>
              <a:t>© 2021. For information, contact Deloitte Touche </a:t>
            </a:r>
            <a:r>
              <a:rPr lang="fr-FR" altLang="ja-JP" sz="900" kern="1200" err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rPr>
              <a:t>Tohmatsu</a:t>
            </a:r>
            <a:r>
              <a:rPr lang="fr-FR" altLang="ja-JP" sz="9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Meiryo UI" panose="020B0604030504040204" pitchFamily="50" charset="-128"/>
              </a:rPr>
              <a:t> LLC.</a:t>
            </a:r>
            <a:endParaRPr lang="en-US" altLang="ja-JP" sz="900" kern="12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322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  <p:sldLayoutId id="2147484072" r:id="rId13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A4A3A4"/>
          </p15:clr>
        </p15:guide>
        <p15:guide id="1" orient="horz" pos="96" userDrawn="1">
          <p15:clr>
            <a:srgbClr val="A4A3A4"/>
          </p15:clr>
        </p15:guide>
        <p15:guide id="2" pos="3701" userDrawn="1">
          <p15:clr>
            <a:srgbClr val="A4A3A4"/>
          </p15:clr>
        </p15:guide>
        <p15:guide id="3" pos="3979" userDrawn="1">
          <p15:clr>
            <a:srgbClr val="A4A3A4"/>
          </p15:clr>
        </p15:guide>
        <p15:guide id="4" pos="7358" userDrawn="1">
          <p15:clr>
            <a:srgbClr val="A4A3A4"/>
          </p15:clr>
        </p15:guide>
        <p15:guide id="5" pos="322" userDrawn="1">
          <p15:clr>
            <a:srgbClr val="A4A3A4"/>
          </p15:clr>
        </p15:guide>
        <p15:guide id="6" orient="horz" pos="504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  <p15:guide id="9" orient="horz" pos="3974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orient="horz" pos="4269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3E84B6F-E227-A249-B3CD-988C62806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3886200" imgH="5029200" progId="TCLayout.ActiveDocument.1">
                  <p:embed/>
                </p:oleObj>
              </mc:Choice>
              <mc:Fallback>
                <p:oleObj name="think-cell スライド" r:id="rId17" imgW="3886200" imgH="50292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3E84B6F-E227-A249-B3CD-988C62806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/>
            <a:endParaRPr kumimoji="1" lang="ja-JP" altLang="en-US" sz="1800" b="0" i="0" baseline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50" charset="-128"/>
            </a:endParaRPr>
          </a:p>
        </p:txBody>
      </p:sp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2D9CD71-4F79-BF42-8FF3-F5F2E4E3B1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00" b="0" i="0" baseline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Hiragino Kaku Gothic Pro W3" charset="-128"/>
              <a:sym typeface="MS UI Gothic" panose="020B0600070205080204" pitchFamily="34" charset="-128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3"/>
            <a:ext cx="11480800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0125" y="836715"/>
            <a:ext cx="11525251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33" y="6453188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2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517E3F9-F1F1-46C5-A063-BEDE16EE36C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7" name="正方形/長方形 6"/>
          <p:cNvSpPr/>
          <p:nvPr/>
        </p:nvSpPr>
        <p:spPr>
          <a:xfrm flipV="1">
            <a:off x="95331" y="548682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  <p:sp>
        <p:nvSpPr>
          <p:cNvPr id="9" name="正方形/長方形 8"/>
          <p:cNvSpPr/>
          <p:nvPr userDrawn="1"/>
        </p:nvSpPr>
        <p:spPr>
          <a:xfrm flipH="1" flipV="1">
            <a:off x="76627" y="6597354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2302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S UI Gothic" panose="020B0600070205080204" pitchFamily="34" charset="-128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3E84B6F-E227-A249-B3CD-988C62806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237522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8" imgW="3886200" imgH="5029200" progId="TCLayout.ActiveDocument.1">
                  <p:embed/>
                </p:oleObj>
              </mc:Choice>
              <mc:Fallback>
                <p:oleObj name="think-cell スライド" r:id="rId18" imgW="3886200" imgH="5029200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3E84B6F-E227-A249-B3CD-988C62806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/>
            <a:endParaRPr kumimoji="1" lang="ja-JP" altLang="en-US" sz="1800" b="0" i="0" baseline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sym typeface="MS UI Gothic" panose="020B0600070205080204" pitchFamily="50" charset="-128"/>
            </a:endParaRPr>
          </a:p>
        </p:txBody>
      </p:sp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2D9CD71-4F79-BF42-8FF3-F5F2E4E3B1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1800" b="0" i="0" baseline="0">
              <a:solidFill>
                <a:schemeClr val="bg2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  <a:cs typeface="Hiragino Kaku Gothic Pro W3" charset="-128"/>
              <a:sym typeface="MS UI Gothic" panose="020B0600070205080204" pitchFamily="34" charset="-128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152403"/>
            <a:ext cx="11480800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0125" y="836715"/>
            <a:ext cx="11525251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04833" y="6453188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200" b="0" i="0">
                <a:solidFill>
                  <a:schemeClr val="bg2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S UI Gothic" panose="020B0600070205080204" pitchFamily="34" charset="-128"/>
              </a:defRPr>
            </a:lvl1pPr>
          </a:lstStyle>
          <a:p>
            <a:pPr>
              <a:defRPr/>
            </a:pPr>
            <a:fld id="{2517E3F9-F1F1-46C5-A063-BEDE16EE36C0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7" name="正方形/長方形 6"/>
          <p:cNvSpPr/>
          <p:nvPr/>
        </p:nvSpPr>
        <p:spPr>
          <a:xfrm flipV="1">
            <a:off x="95331" y="548682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  <p:sp>
        <p:nvSpPr>
          <p:cNvPr id="9" name="正方形/長方形 8"/>
          <p:cNvSpPr/>
          <p:nvPr userDrawn="1"/>
        </p:nvSpPr>
        <p:spPr>
          <a:xfrm flipH="1" flipV="1">
            <a:off x="76627" y="6597354"/>
            <a:ext cx="11988000" cy="45719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kumimoji="1" lang="ja-JP" altLang="en-US" sz="110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S PGothic" charset="-128"/>
              <a:sym typeface="MS UI 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2465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  <p:sldLayoutId id="2147485290" r:id="rId12"/>
    <p:sldLayoutId id="2147483673" r:id="rId13"/>
  </p:sldLayoutIdLst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S UI Gothic" panose="020B0600070205080204" pitchFamily="34" charset="-128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defRPr kumimoji="1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 b="0" i="0">
          <a:solidFill>
            <a:schemeClr val="accent4">
              <a:lumMod val="65000"/>
              <a:lumOff val="35000"/>
            </a:schemeClr>
          </a:solidFill>
          <a:latin typeface="Meiryo UI" panose="020B0604030504040204" pitchFamily="50" charset="-128"/>
          <a:ea typeface="Meiryo UI" panose="020B0604030504040204" pitchFamily="50" charset="-128"/>
          <a:cs typeface="Arial" panose="020B0604020202020204" pitchFamily="34" charset="0"/>
          <a:sym typeface="MS UI Gothic" panose="020B0600070205080204" pitchFamily="34" charset="-128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1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TCLayout.ActiveDocument.1">
                  <p:embed/>
                </p:oleObj>
              </mc:Choice>
              <mc:Fallback>
                <p:oleObj name="think-cell スライド" r:id="rId3" imgW="360" imgH="36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ja-JP" altLang="en-US" b="1" dirty="0"/>
              <a:t>自己紹介</a:t>
            </a: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83127" y="696546"/>
            <a:ext cx="75895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　氏名　　　：越智 啓人（おち ひろと）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ニックネーム　：</a:t>
            </a:r>
            <a:r>
              <a:rPr lang="ja-JP" altLang="en-US" sz="1600" b="1" dirty="0" err="1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しずちゃん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生年月日　　：</a:t>
            </a:r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1987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月</a:t>
            </a:r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14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日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　出身　　　：東京（勝どき在住）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　部署　　　：次世代経営管理準備室 プログラムマネジメント部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　前職　　　：富士ゼロックス株式会社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好きなこと　：ビール、日本酒、ワインなど、よくお酒を飲みに行きます！</a:t>
            </a:r>
            <a:b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　　趣味　　　：互縁ネット</a:t>
            </a:r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*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でグロービス卒業生と</a:t>
            </a:r>
            <a:r>
              <a:rPr lang="ja-JP" altLang="en-US" sz="1600" b="1" dirty="0" err="1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わちゃわちゃ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してます笑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	</a:t>
            </a:r>
            <a:r>
              <a:rPr lang="ja-JP" altLang="en-US" sz="11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*グロービス卒業後に互いに人生のメンターとなって切磋琢磨する？制度のこと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16Personalities</a:t>
            </a:r>
            <a:r>
              <a:rPr lang="ja-JP" altLang="en-US" sz="16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：“領事官”という非常によく見かけるタイプとのこと笑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1300" y="642940"/>
            <a:ext cx="4198511" cy="25192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" name="グループ化 5"/>
          <p:cNvGrpSpPr/>
          <p:nvPr/>
        </p:nvGrpSpPr>
        <p:grpSpPr>
          <a:xfrm>
            <a:off x="243400" y="3251805"/>
            <a:ext cx="7300400" cy="3264045"/>
            <a:chOff x="243399" y="3162155"/>
            <a:chExt cx="11805727" cy="3264045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BC171AEF-0C4C-454F-A585-769603BFE896}"/>
                </a:ext>
              </a:extLst>
            </p:cNvPr>
            <p:cNvSpPr/>
            <p:nvPr/>
          </p:nvSpPr>
          <p:spPr>
            <a:xfrm>
              <a:off x="243399" y="4406652"/>
              <a:ext cx="11787573" cy="2019548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808285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4" name="矢印: 五方向 82">
              <a:extLst>
                <a:ext uri="{FF2B5EF4-FFF2-40B4-BE49-F238E27FC236}">
                  <a16:creationId xmlns:a16="http://schemas.microsoft.com/office/drawing/2014/main" id="{FE03DF53-DC5E-49AE-9135-F81A553EFF83}"/>
                </a:ext>
              </a:extLst>
            </p:cNvPr>
            <p:cNvSpPr/>
            <p:nvPr/>
          </p:nvSpPr>
          <p:spPr>
            <a:xfrm>
              <a:off x="979204" y="3531561"/>
              <a:ext cx="2302219" cy="482091"/>
            </a:xfrm>
            <a:prstGeom prst="homePlate">
              <a:avLst>
                <a:gd name="adj" fmla="val 36133"/>
              </a:avLst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1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大学院生時代</a:t>
              </a:r>
              <a:endParaRPr kumimoji="0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矢印: 五方向 83">
              <a:extLst>
                <a:ext uri="{FF2B5EF4-FFF2-40B4-BE49-F238E27FC236}">
                  <a16:creationId xmlns:a16="http://schemas.microsoft.com/office/drawing/2014/main" id="{E24DA1C5-B1F7-4FC5-95BA-651FD2033D86}"/>
                </a:ext>
              </a:extLst>
            </p:cNvPr>
            <p:cNvSpPr/>
            <p:nvPr/>
          </p:nvSpPr>
          <p:spPr>
            <a:xfrm>
              <a:off x="3355680" y="3531561"/>
              <a:ext cx="5740695" cy="482091"/>
            </a:xfrm>
            <a:prstGeom prst="homePlate">
              <a:avLst>
                <a:gd name="adj" fmla="val 34152"/>
              </a:avLst>
            </a:prstGeom>
            <a:solidFill>
              <a:srgbClr val="00206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富士ゼロックス時代</a:t>
              </a:r>
            </a:p>
          </p:txBody>
        </p:sp>
        <p:sp>
          <p:nvSpPr>
            <p:cNvPr id="16" name="矢印: 五方向 84">
              <a:extLst>
                <a:ext uri="{FF2B5EF4-FFF2-40B4-BE49-F238E27FC236}">
                  <a16:creationId xmlns:a16="http://schemas.microsoft.com/office/drawing/2014/main" id="{E96D392C-E63C-4119-82F0-5A11C072AA4B}"/>
                </a:ext>
              </a:extLst>
            </p:cNvPr>
            <p:cNvSpPr/>
            <p:nvPr/>
          </p:nvSpPr>
          <p:spPr>
            <a:xfrm>
              <a:off x="9201149" y="3531561"/>
              <a:ext cx="2847976" cy="482091"/>
            </a:xfrm>
            <a:prstGeom prst="homePlate">
              <a:avLst>
                <a:gd name="adj" fmla="val 37454"/>
              </a:avLst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リクルート入社</a:t>
              </a: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49FAFBA5-0688-441A-BFCB-B970E9145B1A}"/>
                </a:ext>
              </a:extLst>
            </p:cNvPr>
            <p:cNvSpPr/>
            <p:nvPr/>
          </p:nvSpPr>
          <p:spPr>
            <a:xfrm>
              <a:off x="3355680" y="3162155"/>
              <a:ext cx="5740695" cy="284687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2021/11</a:t>
              </a:r>
              <a:r>
                <a:rPr kumimoji="0" lang="ja-JP" altLang="en-US" sz="8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末</a:t>
              </a:r>
              <a:endParaRPr kumimoji="0" lang="en-US" altLang="ja-JP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DA963EB7-C9A9-4E4D-ADEB-F7F8258342C4}"/>
                </a:ext>
              </a:extLst>
            </p:cNvPr>
            <p:cNvSpPr/>
            <p:nvPr/>
          </p:nvSpPr>
          <p:spPr>
            <a:xfrm>
              <a:off x="9201149" y="3162155"/>
              <a:ext cx="2829821" cy="284687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2021/12</a:t>
              </a:r>
              <a:r>
                <a:rPr kumimoji="0" lang="ja-JP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－</a:t>
              </a: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B80032AF-5D59-4F82-8F23-9F161E4AD7CA}"/>
                </a:ext>
              </a:extLst>
            </p:cNvPr>
            <p:cNvSpPr/>
            <p:nvPr/>
          </p:nvSpPr>
          <p:spPr>
            <a:xfrm>
              <a:off x="979205" y="3162155"/>
              <a:ext cx="2271859" cy="284687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2013/3</a:t>
              </a:r>
              <a:r>
                <a:rPr kumimoji="0" lang="ja-JP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末</a:t>
              </a:r>
              <a:endParaRPr kumimoji="0" lang="en-US" altLang="ja-JP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632E8ECC-EAFC-4D1C-B44C-71132FC65595}"/>
                </a:ext>
              </a:extLst>
            </p:cNvPr>
            <p:cNvSpPr/>
            <p:nvPr/>
          </p:nvSpPr>
          <p:spPr>
            <a:xfrm>
              <a:off x="2939626" y="5265448"/>
              <a:ext cx="1904918" cy="1153636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737373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R="0" lvl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ja-JP" altLang="en-US" sz="900" b="1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担当プロダクト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-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文書管理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出図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-OCR/RPA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-AI/BI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 </a:t>
              </a:r>
              <a:r>
                <a:rPr kumimoji="0" lang="en-US" altLang="ja-JP" sz="900" kern="0" dirty="0" err="1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etc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904774B0-F357-4976-BF35-C4EEB15B2622}"/>
                </a:ext>
              </a:extLst>
            </p:cNvPr>
            <p:cNvSpPr/>
            <p:nvPr/>
          </p:nvSpPr>
          <p:spPr>
            <a:xfrm>
              <a:off x="4935252" y="5265447"/>
              <a:ext cx="3174863" cy="1153636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737373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lvl="0" defTabSz="987415">
                <a:defRPr/>
              </a:pPr>
              <a:r>
                <a:rPr kumimoji="0" lang="ja-JP" altLang="en-US" sz="900" b="1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担当業務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ビジネス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ソリューションモデル考案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市場調査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企業価値評価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ベンダー開拓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 SAP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導入支援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プログラム開発</a:t>
              </a:r>
              <a:endParaRPr kumimoji="0" lang="en-US" altLang="ja-JP" sz="9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1FBB638B-F50C-4BA7-8DC2-2DAEE587D28B}"/>
                </a:ext>
              </a:extLst>
            </p:cNvPr>
            <p:cNvSpPr/>
            <p:nvPr/>
          </p:nvSpPr>
          <p:spPr>
            <a:xfrm>
              <a:off x="8200827" y="5265447"/>
              <a:ext cx="1814206" cy="1153636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737373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R="0" lvl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ja-JP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担当業務</a:t>
              </a:r>
              <a:b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富士ゼロックスのサブスクリプション業務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領域</a:t>
              </a:r>
              <a:r>
                <a:rPr kumimoji="0" lang="ja-JP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のリーディング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63771C33-CA84-47FD-B7BF-83C457108C21}"/>
                </a:ext>
              </a:extLst>
            </p:cNvPr>
            <p:cNvSpPr/>
            <p:nvPr/>
          </p:nvSpPr>
          <p:spPr>
            <a:xfrm>
              <a:off x="10105743" y="5265447"/>
              <a:ext cx="1729735" cy="1153636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737373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R="0" lvl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ja-JP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担当プロダクト</a:t>
              </a:r>
              <a:br>
                <a:rPr kumimoji="0" lang="en-US" altLang="ja-JP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-D365</a:t>
              </a:r>
              <a:b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-Power Platform</a:t>
              </a:r>
              <a:b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-</a:t>
              </a:r>
              <a:r>
                <a:rPr kumimoji="0" lang="en-US" altLang="ja-JP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Zuora</a:t>
              </a:r>
              <a:endParaRPr kumimoji="0" lang="ja-JP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8" name="四角形: 角を丸くする 96">
              <a:extLst>
                <a:ext uri="{FF2B5EF4-FFF2-40B4-BE49-F238E27FC236}">
                  <a16:creationId xmlns:a16="http://schemas.microsoft.com/office/drawing/2014/main" id="{9634BA27-CBEF-4C72-A011-CFCF5F783B87}"/>
                </a:ext>
              </a:extLst>
            </p:cNvPr>
            <p:cNvSpPr/>
            <p:nvPr/>
          </p:nvSpPr>
          <p:spPr>
            <a:xfrm>
              <a:off x="4935253" y="4859135"/>
              <a:ext cx="3174863" cy="340010"/>
            </a:xfrm>
            <a:prstGeom prst="roundRect">
              <a:avLst/>
            </a:prstGeom>
            <a:solidFill>
              <a:srgbClr val="E6760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IT</a:t>
              </a:r>
              <a:r>
                <a:rPr kumimoji="0" lang="ja-JP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新規事業企画兼</a:t>
              </a:r>
              <a:endPara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基幹導入</a:t>
              </a:r>
              <a:endPara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9" name="四角形: 角を丸くする 97">
              <a:extLst>
                <a:ext uri="{FF2B5EF4-FFF2-40B4-BE49-F238E27FC236}">
                  <a16:creationId xmlns:a16="http://schemas.microsoft.com/office/drawing/2014/main" id="{036A554C-68C2-402E-93C9-1597B1B9A269}"/>
                </a:ext>
              </a:extLst>
            </p:cNvPr>
            <p:cNvSpPr/>
            <p:nvPr/>
          </p:nvSpPr>
          <p:spPr>
            <a:xfrm>
              <a:off x="8200826" y="4859156"/>
              <a:ext cx="3661129" cy="341795"/>
            </a:xfrm>
            <a:prstGeom prst="roundRect">
              <a:avLst/>
            </a:prstGeom>
            <a:solidFill>
              <a:srgbClr val="E6760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全社</a:t>
              </a:r>
              <a:r>
                <a:rPr kumimoji="0" lang="ja-JP" altLang="en-US" sz="1050" kern="0" noProof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基幹</a:t>
              </a:r>
              <a:r>
                <a:rPr kumimoji="0" lang="en-US" altLang="ja-JP" sz="1050" kern="0" noProof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Sys</a:t>
              </a:r>
              <a:r>
                <a:rPr kumimoji="0" lang="ja-JP" altLang="en-US" sz="105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刷新</a:t>
              </a:r>
              <a:endParaRPr kumimoji="0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0713DA47-99DF-4907-93FB-218F79E2D336}"/>
                </a:ext>
              </a:extLst>
            </p:cNvPr>
            <p:cNvSpPr/>
            <p:nvPr/>
          </p:nvSpPr>
          <p:spPr>
            <a:xfrm>
              <a:off x="1052493" y="4487480"/>
              <a:ext cx="3816680" cy="293388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1" name="テキスト ボックス 30">
              <a:extLst>
                <a:ext uri="{FF2B5EF4-FFF2-40B4-BE49-F238E27FC236}">
                  <a16:creationId xmlns:a16="http://schemas.microsoft.com/office/drawing/2014/main" id="{71DB21BF-1871-4262-A5D1-E45684809EDE}"/>
                </a:ext>
              </a:extLst>
            </p:cNvPr>
            <p:cNvSpPr txBox="1"/>
            <p:nvPr/>
          </p:nvSpPr>
          <p:spPr>
            <a:xfrm>
              <a:off x="1074787" y="4487480"/>
              <a:ext cx="728415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13/4</a:t>
              </a:r>
              <a:endParaRPr lang="ja-JP" altLang="en-US" sz="9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2" name="四角形: 角を丸くする 108">
              <a:extLst>
                <a:ext uri="{FF2B5EF4-FFF2-40B4-BE49-F238E27FC236}">
                  <a16:creationId xmlns:a16="http://schemas.microsoft.com/office/drawing/2014/main" id="{0516E3A0-FE7E-46E4-A0A8-702A759E615A}"/>
                </a:ext>
              </a:extLst>
            </p:cNvPr>
            <p:cNvSpPr/>
            <p:nvPr/>
          </p:nvSpPr>
          <p:spPr>
            <a:xfrm>
              <a:off x="1052492" y="4859134"/>
              <a:ext cx="3792050" cy="352296"/>
            </a:xfrm>
            <a:prstGeom prst="roundRect">
              <a:avLst/>
            </a:prstGeom>
            <a:solidFill>
              <a:srgbClr val="E67600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ja-JP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App</a:t>
              </a:r>
              <a:r>
                <a:rPr kumimoji="0" lang="ja-JP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系</a:t>
              </a:r>
              <a:r>
                <a:rPr kumimoji="0" lang="en-US" altLang="ja-JP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SE</a:t>
              </a: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F65B1132-6B5E-4F1B-AFC1-DE6D89D81D4F}"/>
                </a:ext>
              </a:extLst>
            </p:cNvPr>
            <p:cNvSpPr/>
            <p:nvPr/>
          </p:nvSpPr>
          <p:spPr>
            <a:xfrm>
              <a:off x="328674" y="3162155"/>
              <a:ext cx="587392" cy="851497"/>
            </a:xfrm>
            <a:prstGeom prst="rect">
              <a:avLst/>
            </a:prstGeom>
            <a:solidFill>
              <a:srgbClr val="737373"/>
            </a:solidFill>
            <a:ln w="10795" cap="flat" cmpd="sng" algn="ctr">
              <a:noFill/>
              <a:prstDash val="solid"/>
            </a:ln>
            <a:effectLst/>
          </p:spPr>
          <p:txBody>
            <a:bodyPr vert="eaVert"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経歴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CC3AABD6-6992-4F13-95A7-DFD9D2556A64}"/>
                </a:ext>
              </a:extLst>
            </p:cNvPr>
            <p:cNvSpPr/>
            <p:nvPr/>
          </p:nvSpPr>
          <p:spPr>
            <a:xfrm>
              <a:off x="328674" y="4495204"/>
              <a:ext cx="586938" cy="716226"/>
            </a:xfrm>
            <a:prstGeom prst="rect">
              <a:avLst/>
            </a:prstGeom>
            <a:solidFill>
              <a:srgbClr val="737373"/>
            </a:solidFill>
            <a:ln w="10795" cap="flat" cmpd="sng" algn="ctr">
              <a:noFill/>
              <a:prstDash val="solid"/>
            </a:ln>
            <a:effectLst/>
          </p:spPr>
          <p:txBody>
            <a:bodyPr vert="eaVert"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業務</a:t>
              </a:r>
              <a:endParaRPr kumimoji="0" lang="en-US" altLang="ja-JP" sz="10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大枠</a:t>
              </a:r>
              <a:endParaRPr kumimoji="0" lang="en-US" altLang="ja-JP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97D7FA1C-F002-4A01-B2E2-C3C453DEDF0B}"/>
                </a:ext>
              </a:extLst>
            </p:cNvPr>
            <p:cNvSpPr/>
            <p:nvPr/>
          </p:nvSpPr>
          <p:spPr>
            <a:xfrm>
              <a:off x="338998" y="5273931"/>
              <a:ext cx="574238" cy="1152269"/>
            </a:xfrm>
            <a:prstGeom prst="rect">
              <a:avLst/>
            </a:prstGeom>
            <a:solidFill>
              <a:srgbClr val="737373"/>
            </a:solidFill>
            <a:ln w="10795" cap="flat" cmpd="sng" algn="ctr">
              <a:noFill/>
              <a:prstDash val="solid"/>
            </a:ln>
            <a:effectLst/>
          </p:spPr>
          <p:txBody>
            <a:bodyPr vert="eaVert" rtlCol="0" anchor="ctr"/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メイリオ" panose="020B0604030504040204" pitchFamily="50" charset="-128"/>
                  <a:ea typeface="メイリオ" panose="020B0604030504040204" pitchFamily="50" charset="-128"/>
                </a:rPr>
                <a:t>内容</a:t>
              </a: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20F92CB4-CBBC-4501-9183-36B938645FA7}"/>
                </a:ext>
              </a:extLst>
            </p:cNvPr>
            <p:cNvSpPr/>
            <p:nvPr/>
          </p:nvSpPr>
          <p:spPr>
            <a:xfrm>
              <a:off x="1071948" y="5269757"/>
              <a:ext cx="1776967" cy="1153636"/>
            </a:xfrm>
            <a:prstGeom prst="rect">
              <a:avLst/>
            </a:prstGeom>
            <a:solidFill>
              <a:srgbClr val="FFFFFF"/>
            </a:solidFill>
            <a:ln w="10795" cap="flat" cmpd="sng" algn="ctr">
              <a:solidFill>
                <a:srgbClr val="737373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R="0" lvl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ja-JP" altLang="en-US" sz="900" b="1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担当業務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IT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コンサル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設計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構築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-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開発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テスト</a:t>
              </a: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/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保守</a:t>
              </a:r>
              <a:b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kumimoji="0" lang="en-US" altLang="ja-JP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‐</a:t>
              </a:r>
              <a:r>
                <a:rPr kumimoji="0" lang="ja-JP" altLang="en-US" sz="900" kern="0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ベンダー管理</a:t>
              </a:r>
              <a:endParaRPr kumimoji="0" lang="en-US" altLang="ja-JP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F8F80FB0-83D6-4167-9860-6BA2CA97C3CA}"/>
                </a:ext>
              </a:extLst>
            </p:cNvPr>
            <p:cNvSpPr txBox="1"/>
            <p:nvPr/>
          </p:nvSpPr>
          <p:spPr>
            <a:xfrm>
              <a:off x="3892676" y="4495204"/>
              <a:ext cx="965139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19/9</a:t>
              </a:r>
              <a:r>
                <a:rPr lang="ja-JP" altLang="en-US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末</a:t>
              </a:r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D4976B7F-333F-4012-B9F1-F066D01C7CE8}"/>
                </a:ext>
              </a:extLst>
            </p:cNvPr>
            <p:cNvSpPr/>
            <p:nvPr/>
          </p:nvSpPr>
          <p:spPr>
            <a:xfrm>
              <a:off x="4935253" y="4495204"/>
              <a:ext cx="3199493" cy="293388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56AC314F-8AF9-49F3-A567-A877084D8927}"/>
                </a:ext>
              </a:extLst>
            </p:cNvPr>
            <p:cNvSpPr txBox="1"/>
            <p:nvPr/>
          </p:nvSpPr>
          <p:spPr>
            <a:xfrm>
              <a:off x="4957545" y="4495204"/>
              <a:ext cx="720723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19/10</a:t>
              </a:r>
              <a:endParaRPr lang="ja-JP" altLang="en-US" sz="9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D485B711-66C3-4898-851A-F474751E3C1C}"/>
                </a:ext>
              </a:extLst>
            </p:cNvPr>
            <p:cNvSpPr txBox="1"/>
            <p:nvPr/>
          </p:nvSpPr>
          <p:spPr>
            <a:xfrm>
              <a:off x="7349023" y="4502928"/>
              <a:ext cx="720723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20/8</a:t>
              </a:r>
              <a:endParaRPr lang="ja-JP" altLang="en-US" sz="9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0BD17CF2-946B-4259-AD01-D7A469623445}"/>
                </a:ext>
              </a:extLst>
            </p:cNvPr>
            <p:cNvSpPr/>
            <p:nvPr/>
          </p:nvSpPr>
          <p:spPr>
            <a:xfrm>
              <a:off x="8226060" y="4502928"/>
              <a:ext cx="3627811" cy="293388"/>
            </a:xfrm>
            <a:prstGeom prst="rect">
              <a:avLst/>
            </a:prstGeom>
            <a:solidFill>
              <a:srgbClr val="2895D5"/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3" name="テキスト ボックス 42">
              <a:extLst>
                <a:ext uri="{FF2B5EF4-FFF2-40B4-BE49-F238E27FC236}">
                  <a16:creationId xmlns:a16="http://schemas.microsoft.com/office/drawing/2014/main" id="{BEB81407-2EB8-445B-B844-059078A5FDE4}"/>
                </a:ext>
              </a:extLst>
            </p:cNvPr>
            <p:cNvSpPr txBox="1"/>
            <p:nvPr/>
          </p:nvSpPr>
          <p:spPr>
            <a:xfrm>
              <a:off x="8248354" y="4502928"/>
              <a:ext cx="720723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20/8</a:t>
              </a:r>
              <a:endParaRPr lang="ja-JP" altLang="en-US" sz="9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3B2103B0-B9BF-48C1-8A23-9EFABBEAFE2A}"/>
                </a:ext>
              </a:extLst>
            </p:cNvPr>
            <p:cNvSpPr txBox="1"/>
            <p:nvPr/>
          </p:nvSpPr>
          <p:spPr>
            <a:xfrm>
              <a:off x="10845996" y="4510652"/>
              <a:ext cx="989482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21/11</a:t>
              </a:r>
              <a:r>
                <a:rPr lang="ja-JP" altLang="en-US" sz="9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末</a:t>
              </a: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4F2CD44A-741D-4AAC-854E-B28E2B58604D}"/>
                </a:ext>
              </a:extLst>
            </p:cNvPr>
            <p:cNvSpPr txBox="1"/>
            <p:nvPr/>
          </p:nvSpPr>
          <p:spPr>
            <a:xfrm>
              <a:off x="3488660" y="3162155"/>
              <a:ext cx="1247618" cy="2893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87415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800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2013/4</a:t>
              </a:r>
              <a:endParaRPr lang="ja-JP" altLang="en-US" sz="800" kern="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30" name="フリーフォーム: 図形 46">
              <a:extLst>
                <a:ext uri="{FF2B5EF4-FFF2-40B4-BE49-F238E27FC236}">
                  <a16:creationId xmlns:a16="http://schemas.microsoft.com/office/drawing/2014/main" id="{179DECE5-C7AD-4133-87AD-D68706BAD3D2}"/>
                </a:ext>
              </a:extLst>
            </p:cNvPr>
            <p:cNvSpPr/>
            <p:nvPr/>
          </p:nvSpPr>
          <p:spPr>
            <a:xfrm>
              <a:off x="243400" y="4032085"/>
              <a:ext cx="11805726" cy="374091"/>
            </a:xfrm>
            <a:custGeom>
              <a:avLst/>
              <a:gdLst>
                <a:gd name="connsiteX0" fmla="*/ 2326964 w 8552935"/>
                <a:gd name="connsiteY0" fmla="*/ 0 h 397758"/>
                <a:gd name="connsiteX1" fmla="*/ 5097262 w 8552935"/>
                <a:gd name="connsiteY1" fmla="*/ 0 h 397758"/>
                <a:gd name="connsiteX2" fmla="*/ 5128741 w 8552935"/>
                <a:gd name="connsiteY2" fmla="*/ 5309 h 397758"/>
                <a:gd name="connsiteX3" fmla="*/ 5176104 w 8552935"/>
                <a:gd name="connsiteY3" fmla="*/ 5309 h 397758"/>
                <a:gd name="connsiteX4" fmla="*/ 8552935 w 8552935"/>
                <a:gd name="connsiteY4" fmla="*/ 397758 h 397758"/>
                <a:gd name="connsiteX5" fmla="*/ 1128709 w 8552935"/>
                <a:gd name="connsiteY5" fmla="*/ 397758 h 397758"/>
                <a:gd name="connsiteX6" fmla="*/ 1174391 w 8552935"/>
                <a:gd name="connsiteY6" fmla="*/ 392449 h 397758"/>
                <a:gd name="connsiteX7" fmla="*/ 0 w 8552935"/>
                <a:gd name="connsiteY7" fmla="*/ 392449 h 397758"/>
                <a:gd name="connsiteX0" fmla="*/ 2326964 w 8552935"/>
                <a:gd name="connsiteY0" fmla="*/ 0 h 397758"/>
                <a:gd name="connsiteX1" fmla="*/ 5097262 w 8552935"/>
                <a:gd name="connsiteY1" fmla="*/ 0 h 397758"/>
                <a:gd name="connsiteX2" fmla="*/ 5128741 w 8552935"/>
                <a:gd name="connsiteY2" fmla="*/ 5309 h 397758"/>
                <a:gd name="connsiteX3" fmla="*/ 6266400 w 8552935"/>
                <a:gd name="connsiteY3" fmla="*/ 15563 h 397758"/>
                <a:gd name="connsiteX4" fmla="*/ 8552935 w 8552935"/>
                <a:gd name="connsiteY4" fmla="*/ 397758 h 397758"/>
                <a:gd name="connsiteX5" fmla="*/ 1128709 w 8552935"/>
                <a:gd name="connsiteY5" fmla="*/ 397758 h 397758"/>
                <a:gd name="connsiteX6" fmla="*/ 1174391 w 8552935"/>
                <a:gd name="connsiteY6" fmla="*/ 392449 h 397758"/>
                <a:gd name="connsiteX7" fmla="*/ 0 w 8552935"/>
                <a:gd name="connsiteY7" fmla="*/ 392449 h 397758"/>
                <a:gd name="connsiteX8" fmla="*/ 2326964 w 8552935"/>
                <a:gd name="connsiteY8" fmla="*/ 0 h 397758"/>
                <a:gd name="connsiteX0" fmla="*/ 2326964 w 8552935"/>
                <a:gd name="connsiteY0" fmla="*/ 4944 h 402702"/>
                <a:gd name="connsiteX1" fmla="*/ 5097262 w 8552935"/>
                <a:gd name="connsiteY1" fmla="*/ 4944 h 402702"/>
                <a:gd name="connsiteX2" fmla="*/ 5128741 w 8552935"/>
                <a:gd name="connsiteY2" fmla="*/ 10253 h 402702"/>
                <a:gd name="connsiteX3" fmla="*/ 6280201 w 8552935"/>
                <a:gd name="connsiteY3" fmla="*/ 0 h 402702"/>
                <a:gd name="connsiteX4" fmla="*/ 8552935 w 8552935"/>
                <a:gd name="connsiteY4" fmla="*/ 402702 h 402702"/>
                <a:gd name="connsiteX5" fmla="*/ 1128709 w 8552935"/>
                <a:gd name="connsiteY5" fmla="*/ 402702 h 402702"/>
                <a:gd name="connsiteX6" fmla="*/ 1174391 w 8552935"/>
                <a:gd name="connsiteY6" fmla="*/ 397393 h 402702"/>
                <a:gd name="connsiteX7" fmla="*/ 0 w 8552935"/>
                <a:gd name="connsiteY7" fmla="*/ 397393 h 402702"/>
                <a:gd name="connsiteX8" fmla="*/ 2326964 w 8552935"/>
                <a:gd name="connsiteY8" fmla="*/ 4944 h 402702"/>
                <a:gd name="connsiteX0" fmla="*/ 2244156 w 8552935"/>
                <a:gd name="connsiteY0" fmla="*/ 15198 h 402702"/>
                <a:gd name="connsiteX1" fmla="*/ 5097262 w 8552935"/>
                <a:gd name="connsiteY1" fmla="*/ 4944 h 402702"/>
                <a:gd name="connsiteX2" fmla="*/ 5128741 w 8552935"/>
                <a:gd name="connsiteY2" fmla="*/ 10253 h 402702"/>
                <a:gd name="connsiteX3" fmla="*/ 6280201 w 8552935"/>
                <a:gd name="connsiteY3" fmla="*/ 0 h 402702"/>
                <a:gd name="connsiteX4" fmla="*/ 8552935 w 8552935"/>
                <a:gd name="connsiteY4" fmla="*/ 402702 h 402702"/>
                <a:gd name="connsiteX5" fmla="*/ 1128709 w 8552935"/>
                <a:gd name="connsiteY5" fmla="*/ 402702 h 402702"/>
                <a:gd name="connsiteX6" fmla="*/ 1174391 w 8552935"/>
                <a:gd name="connsiteY6" fmla="*/ 397393 h 402702"/>
                <a:gd name="connsiteX7" fmla="*/ 0 w 8552935"/>
                <a:gd name="connsiteY7" fmla="*/ 397393 h 402702"/>
                <a:gd name="connsiteX8" fmla="*/ 2244156 w 8552935"/>
                <a:gd name="connsiteY8" fmla="*/ 15198 h 402702"/>
                <a:gd name="connsiteX0" fmla="*/ 2264858 w 8552935"/>
                <a:gd name="connsiteY0" fmla="*/ 15198 h 402702"/>
                <a:gd name="connsiteX1" fmla="*/ 5097262 w 8552935"/>
                <a:gd name="connsiteY1" fmla="*/ 4944 h 402702"/>
                <a:gd name="connsiteX2" fmla="*/ 5128741 w 8552935"/>
                <a:gd name="connsiteY2" fmla="*/ 10253 h 402702"/>
                <a:gd name="connsiteX3" fmla="*/ 6280201 w 8552935"/>
                <a:gd name="connsiteY3" fmla="*/ 0 h 402702"/>
                <a:gd name="connsiteX4" fmla="*/ 8552935 w 8552935"/>
                <a:gd name="connsiteY4" fmla="*/ 402702 h 402702"/>
                <a:gd name="connsiteX5" fmla="*/ 1128709 w 8552935"/>
                <a:gd name="connsiteY5" fmla="*/ 402702 h 402702"/>
                <a:gd name="connsiteX6" fmla="*/ 1174391 w 8552935"/>
                <a:gd name="connsiteY6" fmla="*/ 397393 h 402702"/>
                <a:gd name="connsiteX7" fmla="*/ 0 w 8552935"/>
                <a:gd name="connsiteY7" fmla="*/ 397393 h 402702"/>
                <a:gd name="connsiteX8" fmla="*/ 2264858 w 8552935"/>
                <a:gd name="connsiteY8" fmla="*/ 15198 h 40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52935" h="402702">
                  <a:moveTo>
                    <a:pt x="2264858" y="15198"/>
                  </a:moveTo>
                  <a:lnTo>
                    <a:pt x="5097262" y="4944"/>
                  </a:lnTo>
                  <a:lnTo>
                    <a:pt x="5128741" y="10253"/>
                  </a:lnTo>
                  <a:lnTo>
                    <a:pt x="6280201" y="0"/>
                  </a:lnTo>
                  <a:lnTo>
                    <a:pt x="8552935" y="402702"/>
                  </a:lnTo>
                  <a:lnTo>
                    <a:pt x="1128709" y="402702"/>
                  </a:lnTo>
                  <a:lnTo>
                    <a:pt x="1174391" y="397393"/>
                  </a:lnTo>
                  <a:lnTo>
                    <a:pt x="0" y="397393"/>
                  </a:lnTo>
                  <a:lnTo>
                    <a:pt x="2264858" y="15198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1F497D">
                    <a:lumMod val="60000"/>
                    <a:lumOff val="40000"/>
                  </a:srgbClr>
                </a:gs>
                <a:gs pos="100000">
                  <a:srgbClr val="C2D3E8"/>
                </a:gs>
                <a:gs pos="100000">
                  <a:srgbClr val="D3E0EF"/>
                </a:gs>
                <a:gs pos="0">
                  <a:srgbClr val="1F497D"/>
                </a:gs>
                <a:gs pos="100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30000"/>
                    <a:lumOff val="70000"/>
                  </a:srgbClr>
                </a:gs>
              </a:gsLst>
              <a:lin ang="5400000" scaled="1"/>
              <a:tileRect/>
            </a:gradFill>
            <a:ln w="22225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874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pic>
        <p:nvPicPr>
          <p:cNvPr id="71692" name="Picture 12" descr="https://attachments.office.net/owa/hiroto_ochi%40r.recruit.co.jp/service.svc/s/GetAttachmentThumbnail?id=AAMkAGM4YTAzMTJlLTE2ZDgtNDQ2Yy04ZWI1LTdhYTkwNzVmOTliNgBGAAAAAAC9rnY8GUyxRIXAhKe7x%2F5eBwDz5QoMCKamT6bCS586Bg%2BLAAAAAAEMAADz5QoMCKamT6bCS586Bg%2BLAAAD8n54AAABEgAQACAqzMqkz7RAvNConDFhxxA%3D&amp;thumbnailType=2&amp;token=eyJhbGciOiJSUzI1NiIsImtpZCI6IkZBRDY1NDI2MkM2QUYyOTYxQUExRThDQUI3OEZGMUIyNzBFNzA3RTkiLCJ0eXAiOiJKV1QiLCJ4NXQiOiItdFpVSml4cThwWWFvZWpLdDRfeHNuRG5CLWsifQ.eyJvcmlnaW4iOiJodHRwczovL291dGxvb2sub2ZmaWNlLmNvbSIsInVjIjoiNjNkOGFjZmEzYTRjNDUxNDgyNDE5ZDMyYzE5MTU3MTIiLCJzaWduaW5fc3RhdGUiOiJbXCJpbmtub3dubnR3a1wiLFwia21zaVwiXSIsInZlciI6IkV4Y2hhbmdlLkNhbGxiYWNrLlYxIiwiYXBwY3R4c2VuZGVyIjoiT3dhRG93bmxvYWRAMmYyMjRmNDItMzQ0MC00OTczLWE4ZTktNjdmNzcyNzA2MGIzIiwiaXNzcmluZyI6IldXIiwiYXBwY3R4Ijoie1wibXNleGNocHJvdFwiOlwib3dhXCIsXCJwdWlkXCI6XCIxMTUzODAxMTIxMjE1NjEzOTQ4XCIsXCJzY29wZVwiOlwiT3dhRG93bmxvYWRcIixcIm9pZFwiOlwiMWI2YzQ0NmYtNDk5My00NTRiLWE1MmYtMTliNjVhMDMyMmZmXCIsXCJwcmltYXJ5c2lkXCI6XCJTLTEtNS0yMS0xODU4NTA0NTc1LTI1NDMzMjQ4NzItMjYwMjI3MjA2MS0zNjEyNDM1N1wifSIsIm5iZiI6MTYzODkyMTUyNCwiZXhwIjoxNjM4OTIyMTI0LCJpc3MiOiIwMDAwMDAwMi0wMDAwLTBmZjEtY2UwMC0wMDAwMDAwMDAwMDBAMmYyMjRmNDItMzQ0MC00OTczLWE4ZTktNjdmNzcyNzA2MGIzIiwiYXVkIjoiMDAwMDAwMDItMDAwMC0wZmYxLWNlMDAtMDAwMDAwMDAwMDAwL2F0dGFjaG1lbnRzLm9mZmljZS5uZXRAMmYyMjRmNDItMzQ0MC00OTczLWE4ZTktNjdmNzcyNzA2MGIzIiwiaGFwcCI6Im93YSJ9.bM5iN5iCXZJaDIkMtX67qqgOKLDUT03tcOkNF3_77A-93xEZC4gJO_KvVscioW_r27MH5ZoitB_gA-qUXcc7saWFsvkEgX2iVU6liWzP3Gug6lm0ymqc-PjP-l1GonlvYpvMifnCEPqGKF79fvFIsq36XEPmw_aHCtiZsHUGZwt88nfD5YvzwSVA_lVk5xO_XH6wRLZ1CpZxIBqIRSU-Yjaa4ZPKBm5HvoXbt6AZ9Fzxrfh3-xenKKgrdMAeIIWxbmes706ZBBom7BWLoN6OG3djnHWBgFPxRTCW6Or9K-uAd9GKlkYdFGI5ECQXopM8Npr9hilB-y62T732uwGm1w&amp;X-OWA-CANARY=7b9snWoSAU6qcq1c2q6qLtD4KIjdudkYuI7nQCAVk1PrhUcbnKautmHD3XGsraxH0JUSZZnseTM.&amp;owa=outlook.office.com&amp;scriptVer=20211129004.15&amp;animation=tru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1300" y="3374720"/>
            <a:ext cx="4178685" cy="31340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/>
          <p:cNvSpPr txBox="1"/>
          <p:nvPr/>
        </p:nvSpPr>
        <p:spPr bwMode="auto">
          <a:xfrm>
            <a:off x="8476107" y="3503036"/>
            <a:ext cx="1416230" cy="589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 rtlCol="0" anchor="ctr" anchorCtr="0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/>
              </a:rPr>
              <a:t>グロビの飲み仲間</a:t>
            </a:r>
            <a:endParaRPr kumimoji="1" lang="en-US" altLang="ja-JP" sz="12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65929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2M7tbK5J4z0xmFWhKu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potWIdYMJl6F809y9V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DWkgR8A4mLYDRNP572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potWIdYMJl6F809y9Vx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oc14MwKQX_ydSaB1Kl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ktCxwj.RHJQtPi2Gp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2M7tbK5J4z0xmFWhKu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potWIdYMJl6F809y9V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2M7tbK5J4z0xmFWhKu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potWIdYMJl6F809y9V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企画書テンプレートRLS14ver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9525">
          <a:solidFill>
            <a:schemeClr val="bg1">
              <a:lumMod val="50000"/>
            </a:schemeClr>
          </a:solidFill>
        </a:ln>
      </a:spPr>
      <a:bodyPr vert="horz" rtlCol="0" anchor="ctr"/>
      <a:lstStyle>
        <a:defPPr algn="ctr">
          <a:defRPr kumimoji="1" sz="1400" dirty="0" smtClean="0">
            <a:solidFill>
              <a:schemeClr val="accent4">
                <a:lumMod val="65000"/>
                <a:lumOff val="35000"/>
              </a:schemeClr>
            </a:solidFill>
            <a:latin typeface="+mn-ea"/>
            <a:cs typeface="Hiragino Kaku Gothic Pro W3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36000" rIns="36000" bIns="36000" rtlCol="0" anchor="ctr" anchorCtr="0">
        <a:noAutofit/>
      </a:bodyPr>
      <a:lstStyle>
        <a:defPPr algn="l">
          <a:defRPr kumimoji="1" sz="1200" dirty="0" smtClean="0">
            <a:solidFill>
              <a:schemeClr val="accent4">
                <a:lumMod val="65000"/>
                <a:lumOff val="35000"/>
              </a:schemeClr>
            </a:solidFill>
            <a:latin typeface="Meiryo UI" panose="020B0604030504040204" pitchFamily="50" charset="-128"/>
            <a:ea typeface="Meiryo UI" panose="020B0604030504040204" pitchFamily="50" charset="-128"/>
            <a:cs typeface="メイリオ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企画書テンプレートRLS14ver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50000"/>
            </a:schemeClr>
          </a:solidFill>
        </a:ln>
        <a:effectLst/>
      </a:spPr>
      <a:bodyPr lIns="44308" tIns="44308" rIns="44308" bIns="44308" rtlCol="0" anchor="ctr"/>
      <a:lstStyle>
        <a:defPPr algn="l">
          <a:defRPr sz="1000" dirty="0">
            <a:solidFill>
              <a:prstClr val="black"/>
            </a:solidFill>
            <a:latin typeface="MS UI Gothic" panose="020B0600070205080204" pitchFamily="34" charset="-128"/>
            <a:ea typeface="MS UI Gothic" panose="020B0600070205080204" pitchFamily="34" charset="-128"/>
            <a:sym typeface="MS UI Gothic" panose="020B0600070205080204" pitchFamily="34" charset="-128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none" rtlCol="0">
        <a:spAutoFit/>
      </a:bodyPr>
      <a:lstStyle>
        <a:defPPr algn="l">
          <a:defRPr kumimoji="1" sz="1600" dirty="0" smtClean="0">
            <a:solidFill>
              <a:schemeClr val="accent4">
                <a:lumMod val="65000"/>
                <a:lumOff val="35000"/>
              </a:schemeClr>
            </a:solidFill>
            <a:latin typeface="MS UI Gothic" panose="020B0600070205080204" pitchFamily="50" charset="-128"/>
            <a:ea typeface="MS UI Gothic" panose="020B0600070205080204" pitchFamily="50" charset="-128"/>
            <a:cs typeface="メイリオ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T Proposal Template_J_20171226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baseline="0" dirty="0" smtClean="0">
            <a:latin typeface="+mn-lt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baseline="0" dirty="0" smtClean="0">
            <a:latin typeface="+mn-lt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Proposal Template_J（DTC）20171226.pptx[読み取り専用]" id="{A890BDA8-6399-4F00-B725-6BBBFB7EB5EB}" vid="{2BC6E4B1-5698-4F7A-AD0D-666CC116C81F}"/>
    </a:ext>
  </a:extLst>
</a:theme>
</file>

<file path=ppt/theme/theme4.xml><?xml version="1.0" encoding="utf-8"?>
<a:theme xmlns:a="http://schemas.openxmlformats.org/drawingml/2006/main" name="1_企画書テンプレートRLS14ver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50000"/>
            </a:schemeClr>
          </a:solidFill>
        </a:ln>
        <a:effectLst/>
      </a:spPr>
      <a:bodyPr lIns="44308" tIns="44308" rIns="44308" bIns="44308" rtlCol="0" anchor="ctr"/>
      <a:lstStyle>
        <a:defPPr algn="l">
          <a:defRPr sz="1000" dirty="0">
            <a:solidFill>
              <a:prstClr val="black"/>
            </a:solidFill>
            <a:latin typeface="MS UI Gothic" panose="020B0600070205080204" pitchFamily="34" charset="-128"/>
            <a:ea typeface="MS UI Gothic" panose="020B0600070205080204" pitchFamily="34" charset="-128"/>
            <a:sym typeface="MS UI Gothic" panose="020B0600070205080204" pitchFamily="34" charset="-128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none" rtlCol="0">
        <a:spAutoFit/>
      </a:bodyPr>
      <a:lstStyle>
        <a:defPPr algn="l">
          <a:defRPr kumimoji="1" sz="1600" dirty="0" smtClean="0">
            <a:solidFill>
              <a:schemeClr val="accent4">
                <a:lumMod val="65000"/>
                <a:lumOff val="35000"/>
              </a:schemeClr>
            </a:solidFill>
            <a:latin typeface="MS UI Gothic" panose="020B0600070205080204" pitchFamily="50" charset="-128"/>
            <a:ea typeface="MS UI Gothic" panose="020B0600070205080204" pitchFamily="50" charset="-128"/>
            <a:cs typeface="メイリオ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企画書テンプレートRLS14ver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  <a:effectLst/>
      </a:spPr>
      <a:bodyPr lIns="44308" tIns="44308" rIns="44308" bIns="44308" rtlCol="0" anchor="ctr"/>
      <a:lstStyle>
        <a:defPPr algn="l">
          <a:defRPr kumimoji="1" sz="1000" dirty="0">
            <a:solidFill>
              <a:prstClr val="black"/>
            </a:solidFill>
            <a:latin typeface="MS UI Gothic" panose="020B0600070205080204" pitchFamily="34" charset="-128"/>
            <a:ea typeface="MS UI Gothic" panose="020B0600070205080204" pitchFamily="34" charset="-128"/>
            <a:sym typeface="MS UI Gothic" panose="020B0600070205080204" pitchFamily="34" charset="-128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none" rtlCol="0">
        <a:spAutoFit/>
      </a:bodyPr>
      <a:lstStyle>
        <a:defPPr algn="l">
          <a:defRPr kumimoji="1" sz="1600" dirty="0" smtClean="0">
            <a:solidFill>
              <a:schemeClr val="accent4">
                <a:lumMod val="65000"/>
                <a:lumOff val="35000"/>
              </a:schemeClr>
            </a:solidFill>
            <a:latin typeface="MS UI Gothic" panose="020B0600070205080204" pitchFamily="50" charset="-128"/>
            <a:ea typeface="MS UI Gothic" panose="020B0600070205080204" pitchFamily="50" charset="-128"/>
            <a:cs typeface="メイリオ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9CA06FE8D022FC4190E4288D633BF620" ma:contentTypeVersion="4" ma:contentTypeDescription="新しいドキュメントを作成します。" ma:contentTypeScope="" ma:versionID="bcfddf6c28bcc33de60e096cc35243c1">
  <xsd:schema xmlns:xsd="http://www.w3.org/2001/XMLSchema" xmlns:xs="http://www.w3.org/2001/XMLSchema" xmlns:p="http://schemas.microsoft.com/office/2006/metadata/properties" xmlns:ns2="cc3e77a8-4e10-48df-83ff-dabfde661ab3" xmlns:ns3="bb4d566c-a011-4c20-9482-7bbb399d4cd5" targetNamespace="http://schemas.microsoft.com/office/2006/metadata/properties" ma:root="true" ma:fieldsID="e969d1191e28322b19fedd080c85d74f" ns2:_="" ns3:_="">
    <xsd:import namespace="cc3e77a8-4e10-48df-83ff-dabfde661ab3"/>
    <xsd:import namespace="bb4d566c-a011-4c20-9482-7bbb399d4c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3e77a8-4e10-48df-83ff-dabfde661a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4d566c-a011-4c20-9482-7bbb399d4cd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06ADAE-FD93-4FF4-9DFE-EE012FC8C9B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E223CF-2E60-7248-B334-C62B424CF89B}">
  <ds:schemaRefs>
    <ds:schemaRef ds:uri="http://purl.org/dc/terms/"/>
    <ds:schemaRef ds:uri="68893545-e206-4c87-a1d0-cb18894f78fd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663f714-e648-46a2-8c75-0b4476465bb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042D8E4-1366-4222-8359-CC95F6AD42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3e77a8-4e10-48df-83ff-dabfde661ab3"/>
    <ds:schemaRef ds:uri="bb4d566c-a011-4c20-9482-7bbb399d4c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55</TotalTime>
  <Words>255</Words>
  <Application>Microsoft Office PowerPoint</Application>
  <PresentationFormat>ワイド画面</PresentationFormat>
  <Paragraphs>3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5" baseType="lpstr">
      <vt:lpstr>Meiryo UI</vt:lpstr>
      <vt:lpstr>MS UI Gothic</vt:lpstr>
      <vt:lpstr>Meiryo</vt:lpstr>
      <vt:lpstr>Meiryo</vt:lpstr>
      <vt:lpstr>Arial</vt:lpstr>
      <vt:lpstr>Verdana</vt:lpstr>
      <vt:lpstr>Wingdings</vt:lpstr>
      <vt:lpstr>Wingdings 2</vt:lpstr>
      <vt:lpstr>企画書テンプレートRLS14ver</vt:lpstr>
      <vt:lpstr>企画書テンプレートRLS14ver</vt:lpstr>
      <vt:lpstr>2_DT Proposal Template_J_20171226</vt:lpstr>
      <vt:lpstr>1_企画書テンプレートRLS14ver</vt:lpstr>
      <vt:lpstr>企画書テンプレートRLS14ver</vt:lpstr>
      <vt:lpstr>think-cell スライド</vt:lpstr>
      <vt:lpstr>自己紹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片山　亮</dc:creator>
  <cp:lastModifiedBy>越智 啓人</cp:lastModifiedBy>
  <cp:revision>373</cp:revision>
  <cp:lastPrinted>2021-04-06T10:07:25Z</cp:lastPrinted>
  <dcterms:modified xsi:type="dcterms:W3CDTF">2025-09-22T01:0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A06FE8D022FC4190E4288D633BF620</vt:lpwstr>
  </property>
  <property fmtid="{D5CDD505-2E9C-101B-9397-08002B2CF9AE}" pid="3" name="Order">
    <vt:r8>5092800</vt:r8>
  </property>
  <property fmtid="{D5CDD505-2E9C-101B-9397-08002B2CF9AE}" pid="4" name="ComplianceAssetId">
    <vt:lpwstr/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SetDate">
    <vt:lpwstr>2021-10-13T06:27:42Z</vt:lpwstr>
  </property>
  <property fmtid="{D5CDD505-2E9C-101B-9397-08002B2CF9AE}" pid="7" name="MSIP_Label_ea60d57e-af5b-4752-ac57-3e4f28ca11dc_Method">
    <vt:lpwstr>Standard</vt:lpwstr>
  </property>
  <property fmtid="{D5CDD505-2E9C-101B-9397-08002B2CF9AE}" pid="8" name="MSIP_Label_ea60d57e-af5b-4752-ac57-3e4f28ca11dc_Name">
    <vt:lpwstr>ea60d57e-af5b-4752-ac57-3e4f28ca11dc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ActionId">
    <vt:lpwstr>fe06df2b-8217-4351-9365-c120cf47facb</vt:lpwstr>
  </property>
  <property fmtid="{D5CDD505-2E9C-101B-9397-08002B2CF9AE}" pid="11" name="MSIP_Label_ea60d57e-af5b-4752-ac57-3e4f28ca11dc_ContentBits">
    <vt:lpwstr>0</vt:lpwstr>
  </property>
</Properties>
</file>